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9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0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1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4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15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6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17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18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  <p:sldMasterId id="2147483678" r:id="rId3"/>
    <p:sldMasterId id="2147483696" r:id="rId4"/>
    <p:sldMasterId id="2147483714" r:id="rId5"/>
    <p:sldMasterId id="2147483725" r:id="rId6"/>
    <p:sldMasterId id="2147483737" r:id="rId7"/>
    <p:sldMasterId id="2147483749" r:id="rId8"/>
    <p:sldMasterId id="2147483760" r:id="rId9"/>
    <p:sldMasterId id="2147483770" r:id="rId10"/>
    <p:sldMasterId id="2147483782" r:id="rId11"/>
    <p:sldMasterId id="2147483794" r:id="rId12"/>
    <p:sldMasterId id="2147483807" r:id="rId13"/>
    <p:sldMasterId id="2147483819" r:id="rId14"/>
    <p:sldMasterId id="2147483829" r:id="rId15"/>
    <p:sldMasterId id="2147483842" r:id="rId16"/>
    <p:sldMasterId id="2147483855" r:id="rId17"/>
    <p:sldMasterId id="2147483891" r:id="rId18"/>
  </p:sldMasterIdLst>
  <p:notesMasterIdLst>
    <p:notesMasterId r:id="rId27"/>
  </p:notesMasterIdLst>
  <p:sldIdLst>
    <p:sldId id="17635" r:id="rId19"/>
    <p:sldId id="17636" r:id="rId20"/>
    <p:sldId id="17637" r:id="rId21"/>
    <p:sldId id="17639" r:id="rId22"/>
    <p:sldId id="17640" r:id="rId23"/>
    <p:sldId id="17641" r:id="rId24"/>
    <p:sldId id="17642" r:id="rId25"/>
    <p:sldId id="17643" r:id="rId26"/>
  </p:sldIdLst>
  <p:sldSz cx="12192000" cy="6858000"/>
  <p:notesSz cx="6858000" cy="9144000"/>
  <p:custDataLst>
    <p:tags r:id="rId28"/>
  </p:custDataLst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0000"/>
    <a:srgbClr val="C00000"/>
    <a:srgbClr val="565656"/>
    <a:srgbClr val="A5A5A5"/>
    <a:srgbClr val="7F7F7F"/>
    <a:srgbClr val="2626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85" autoAdjust="0"/>
    <p:restoredTop sz="85343" autoAdjust="0"/>
  </p:normalViewPr>
  <p:slideViewPr>
    <p:cSldViewPr snapToGrid="0">
      <p:cViewPr varScale="1">
        <p:scale>
          <a:sx n="81" d="100"/>
          <a:sy n="81" d="100"/>
        </p:scale>
        <p:origin x="922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8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3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2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6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tags" Target="tags/tag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71F8C6-DBF1-4003-A4A1-5B0600242DF7}" type="datetimeFigureOut">
              <a:rPr lang="en-US" smtClean="0"/>
              <a:t>8/2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84CCC5-8FC3-4200-95B7-10D3A8525F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8907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84CCC5-8FC3-4200-95B7-10D3A8525F1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59530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nhance the look and feel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84CCC5-8FC3-4200-95B7-10D3A8525F1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5390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6.png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6.png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16.png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3.png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3.png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8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8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3.png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3.png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6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672"/>
          <a:stretch/>
        </p:blipFill>
        <p:spPr>
          <a:xfrm>
            <a:off x="-1" y="-1"/>
            <a:ext cx="10755567" cy="6858001"/>
          </a:xfrm>
          <a:custGeom>
            <a:avLst/>
            <a:gdLst>
              <a:gd name="connsiteX0" fmla="*/ 0 w 10755567"/>
              <a:gd name="connsiteY0" fmla="*/ 0 h 6858000"/>
              <a:gd name="connsiteX1" fmla="*/ 8634330 w 10755567"/>
              <a:gd name="connsiteY1" fmla="*/ 0 h 6858000"/>
              <a:gd name="connsiteX2" fmla="*/ 10284028 w 10755567"/>
              <a:gd name="connsiteY2" fmla="*/ 1653189 h 6858000"/>
              <a:gd name="connsiteX3" fmla="*/ 10284028 w 10755567"/>
              <a:gd name="connsiteY3" fmla="*/ 3934802 h 6858000"/>
              <a:gd name="connsiteX4" fmla="*/ 7367003 w 10755567"/>
              <a:gd name="connsiteY4" fmla="*/ 6858000 h 6858000"/>
              <a:gd name="connsiteX5" fmla="*/ 0 w 10755567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55567" h="6858000">
                <a:moveTo>
                  <a:pt x="0" y="0"/>
                </a:moveTo>
                <a:lnTo>
                  <a:pt x="8634330" y="0"/>
                </a:lnTo>
                <a:lnTo>
                  <a:pt x="10284028" y="1653189"/>
                </a:lnTo>
                <a:cubicBezTo>
                  <a:pt x="10912747" y="2283239"/>
                  <a:pt x="10912747" y="3304752"/>
                  <a:pt x="10284028" y="3934802"/>
                </a:cubicBezTo>
                <a:lnTo>
                  <a:pt x="736700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>
          <a:xfrm>
            <a:off x="0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72000">
                <a:srgbClr val="D82435">
                  <a:alpha val="11000"/>
                </a:srgbClr>
              </a:gs>
              <a:gs pos="13000">
                <a:srgbClr val="D8243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66410" y="5715000"/>
            <a:ext cx="2046606" cy="86970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10860" y="3883937"/>
            <a:ext cx="5537640" cy="919512"/>
          </a:xfrm>
        </p:spPr>
        <p:txBody>
          <a:bodyPr lIns="0" tIns="0" rIns="0" bIns="0" anchor="b">
            <a:normAutofit/>
          </a:bodyPr>
          <a:lstStyle>
            <a:lvl1pPr algn="l"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0860" y="5309150"/>
            <a:ext cx="5537640" cy="2769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d-ID"/>
          </a:p>
        </p:txBody>
      </p:sp>
      <p:cxnSp>
        <p:nvCxnSpPr>
          <p:cNvPr id="18" name="Straight Connector 17"/>
          <p:cNvCxnSpPr/>
          <p:nvPr/>
        </p:nvCxnSpPr>
        <p:spPr>
          <a:xfrm>
            <a:off x="1510860" y="5041836"/>
            <a:ext cx="97790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F01C9035-487A-4D36-8465-FC9817FC1CFB}"/>
              </a:ext>
            </a:extLst>
          </p:cNvPr>
          <p:cNvSpPr/>
          <p:nvPr/>
        </p:nvSpPr>
        <p:spPr>
          <a:xfrm>
            <a:off x="1304980" y="6687876"/>
            <a:ext cx="92377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900" dirty="0">
                <a:solidFill>
                  <a:schemeClr val="bg1">
                    <a:lumMod val="85000"/>
                  </a:schemeClr>
                </a:solidFill>
              </a:rPr>
              <a:t>This document is confidential and any unauthorized use without the permission of Kafaa is prohibited.	</a:t>
            </a:r>
          </a:p>
        </p:txBody>
      </p:sp>
    </p:spTree>
    <p:extLst>
      <p:ext uri="{BB962C8B-B14F-4D97-AF65-F5344CB8AC3E}">
        <p14:creationId xmlns:p14="http://schemas.microsoft.com/office/powerpoint/2010/main" val="40755700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_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BCA03C-12FE-40A5-B9ED-38586D724B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A692395-8122-4FB7-8EB4-E51AE02C6C14}" type="datetime1">
              <a:rPr lang="id-ID" smtClean="0"/>
              <a:t>20/08/2025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F3D11F1-1028-4CBF-BA8D-72D096D00C6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8" r="11655" b="314"/>
          <a:stretch/>
        </p:blipFill>
        <p:spPr>
          <a:xfrm>
            <a:off x="1" y="-2"/>
            <a:ext cx="8738898" cy="6858000"/>
          </a:xfrm>
          <a:custGeom>
            <a:avLst/>
            <a:gdLst>
              <a:gd name="connsiteX0" fmla="*/ 0 w 8738898"/>
              <a:gd name="connsiteY0" fmla="*/ 0 h 6858000"/>
              <a:gd name="connsiteX1" fmla="*/ 7015393 w 8738898"/>
              <a:gd name="connsiteY1" fmla="*/ 0 h 6858000"/>
              <a:gd name="connsiteX2" fmla="*/ 8355773 w 8738898"/>
              <a:gd name="connsiteY2" fmla="*/ 1653189 h 6858000"/>
              <a:gd name="connsiteX3" fmla="*/ 8355773 w 8738898"/>
              <a:gd name="connsiteY3" fmla="*/ 3934802 h 6858000"/>
              <a:gd name="connsiteX4" fmla="*/ 5985690 w 8738898"/>
              <a:gd name="connsiteY4" fmla="*/ 6858000 h 6858000"/>
              <a:gd name="connsiteX5" fmla="*/ 0 w 873889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38898" h="6858000">
                <a:moveTo>
                  <a:pt x="0" y="0"/>
                </a:moveTo>
                <a:lnTo>
                  <a:pt x="7015393" y="0"/>
                </a:lnTo>
                <a:lnTo>
                  <a:pt x="8355773" y="1653189"/>
                </a:lnTo>
                <a:cubicBezTo>
                  <a:pt x="8866607" y="2283239"/>
                  <a:pt x="8866607" y="3304752"/>
                  <a:pt x="8355773" y="3934802"/>
                </a:cubicBezTo>
                <a:lnTo>
                  <a:pt x="5985690" y="6858000"/>
                </a:lnTo>
                <a:lnTo>
                  <a:pt x="0" y="6858000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9" name="Freeform 7">
            <a:extLst>
              <a:ext uri="{FF2B5EF4-FFF2-40B4-BE49-F238E27FC236}">
                <a16:creationId xmlns:a16="http://schemas.microsoft.com/office/drawing/2014/main" id="{AF9512CB-441F-4B5E-A0FE-7FF7F37BB36D}"/>
              </a:ext>
            </a:extLst>
          </p:cNvPr>
          <p:cNvSpPr/>
          <p:nvPr/>
        </p:nvSpPr>
        <p:spPr>
          <a:xfrm>
            <a:off x="1" y="0"/>
            <a:ext cx="8738898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72000">
                <a:srgbClr val="D82435">
                  <a:alpha val="11000"/>
                </a:srgbClr>
              </a:gs>
              <a:gs pos="13000">
                <a:srgbClr val="D8243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CEF01BE-9E42-4FE5-9487-09C60C3184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1109" y="5841308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0ED1571-09CD-4BAD-9843-28D6F1C4DDFE}"/>
              </a:ext>
            </a:extLst>
          </p:cNvPr>
          <p:cNvCxnSpPr/>
          <p:nvPr/>
        </p:nvCxnSpPr>
        <p:spPr>
          <a:xfrm>
            <a:off x="606753" y="4164118"/>
            <a:ext cx="794544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DA3CF038-BE9C-4CEC-9473-D8B819549F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6753" y="3422844"/>
            <a:ext cx="7261106" cy="455509"/>
          </a:xfr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3200" dirty="0">
                <a:solidFill>
                  <a:schemeClr val="bg1"/>
                </a:solidFill>
                <a:latin typeface="Nexa Bold" panose="02000000000000000000" pitchFamily="50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D5A7A42-02BD-478F-A339-9EF1ABDE7D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6753" y="4456039"/>
            <a:ext cx="4112533" cy="423193"/>
          </a:xfrm>
        </p:spPr>
        <p:txBody>
          <a:bodyPr vert="horz" wrap="square" lIns="0" tIns="0" rIns="0" bIns="0" rtlCol="0">
            <a:spAutoFit/>
          </a:bodyPr>
          <a:lstStyle>
            <a:lvl1pPr marL="0" indent="0" algn="l">
              <a:buNone/>
              <a:defRPr lang="en-US" sz="2000" dirty="0">
                <a:solidFill>
                  <a:schemeClr val="bg1"/>
                </a:solidFill>
                <a:latin typeface="Nexa Light" panose="02000000000000000000" pitchFamily="50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5F20BA5-BA09-4744-A5C4-E7000B8EE2C0}"/>
              </a:ext>
            </a:extLst>
          </p:cNvPr>
          <p:cNvSpPr txBox="1">
            <a:spLocks/>
          </p:cNvSpPr>
          <p:nvPr/>
        </p:nvSpPr>
        <p:spPr>
          <a:xfrm>
            <a:off x="538385" y="6391866"/>
            <a:ext cx="5657852" cy="172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en-GB" dirty="0">
                <a:solidFill>
                  <a:prstClr val="white"/>
                </a:solidFill>
                <a:ea typeface="Helvetica Neue" charset="0"/>
                <a:cs typeface="Helvetica Neue" charset="0"/>
              </a:rPr>
              <a:t>This document is confidential and any unauthorized use without the permission of Kafaa is prohibited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9F092F5-47CD-45D9-8ADC-4F83BD550614}"/>
              </a:ext>
            </a:extLst>
          </p:cNvPr>
          <p:cNvCxnSpPr/>
          <p:nvPr/>
        </p:nvCxnSpPr>
        <p:spPr>
          <a:xfrm>
            <a:off x="9933622" y="5631453"/>
            <a:ext cx="0" cy="933097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1092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888">
          <p15:clr>
            <a:srgbClr val="FBAE40"/>
          </p15:clr>
        </p15:guide>
        <p15:guide id="4" orient="horz" pos="2260">
          <p15:clr>
            <a:srgbClr val="FBAE40"/>
          </p15:clr>
        </p15:guide>
        <p15:guide id="5" pos="168">
          <p15:clr>
            <a:srgbClr val="FBAE40"/>
          </p15:clr>
        </p15:guide>
        <p15:guide id="6" pos="7512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6">
            <a:extLst>
              <a:ext uri="{FF2B5EF4-FFF2-40B4-BE49-F238E27FC236}">
                <a16:creationId xmlns:a16="http://schemas.microsoft.com/office/drawing/2014/main" id="{A9E1E493-8350-430A-877B-88213893A13A}"/>
              </a:ext>
            </a:extLst>
          </p:cNvPr>
          <p:cNvSpPr/>
          <p:nvPr/>
        </p:nvSpPr>
        <p:spPr>
          <a:xfrm flipH="1">
            <a:off x="3453102" y="0"/>
            <a:ext cx="8738898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2A8495-68FC-463B-B919-DBE944FDC4F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13" y="5841308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B02EE97-7C08-42D0-AC49-C893539184F9}"/>
              </a:ext>
            </a:extLst>
          </p:cNvPr>
          <p:cNvCxnSpPr/>
          <p:nvPr/>
        </p:nvCxnSpPr>
        <p:spPr>
          <a:xfrm>
            <a:off x="11130756" y="4164118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1">
            <a:extLst>
              <a:ext uri="{FF2B5EF4-FFF2-40B4-BE49-F238E27FC236}">
                <a16:creationId xmlns:a16="http://schemas.microsoft.com/office/drawing/2014/main" id="{82EEDA8E-A90A-4D44-825A-05C74F95F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5" y="2889205"/>
            <a:ext cx="8543925" cy="512448"/>
          </a:xfrm>
        </p:spPr>
        <p:txBody>
          <a:bodyPr vert="horz" lIns="0" tIns="0" rIns="0" bIns="0" rtlCol="0" anchor="t">
            <a:spAutoFit/>
          </a:bodyPr>
          <a:lstStyle>
            <a:lvl1pPr algn="r" rtl="1">
              <a:defRPr lang="en-US"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ABA04E7-C09E-472D-A5A0-6C553F17BE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81375" y="3654773"/>
            <a:ext cx="8543925" cy="415498"/>
          </a:xfrm>
        </p:spPr>
        <p:txBody>
          <a:bodyPr vert="horz" wrap="square" lIns="0" tIns="0" rIns="0" bIns="0" rtlCol="0">
            <a:spAutoFit/>
          </a:bodyPr>
          <a:lstStyle>
            <a:lvl1pPr marL="0" indent="0" algn="r" rtl="1">
              <a:buNone/>
              <a:defRPr lang="en-US" sz="1800" smtClean="0">
                <a:solidFill>
                  <a:srgbClr val="D82435"/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331258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0A554A07-6BDD-490E-B32C-6F96CE61FF7D}"/>
              </a:ext>
            </a:extLst>
          </p:cNvPr>
          <p:cNvGrpSpPr/>
          <p:nvPr/>
        </p:nvGrpSpPr>
        <p:grpSpPr>
          <a:xfrm flipH="1">
            <a:off x="0" y="0"/>
            <a:ext cx="12215937" cy="6960075"/>
            <a:chOff x="1" y="-30631"/>
            <a:chExt cx="10049567" cy="672161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21C32B9-3999-4416-86E2-A65BAA169F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r="184" b="335"/>
            <a:stretch/>
          </p:blipFill>
          <p:spPr>
            <a:xfrm>
              <a:off x="2" y="-30630"/>
              <a:ext cx="10049566" cy="6709681"/>
            </a:xfrm>
            <a:prstGeom prst="rect">
              <a:avLst/>
            </a:prstGeom>
          </p:spPr>
        </p:pic>
        <p:sp>
          <p:nvSpPr>
            <p:cNvPr id="9" name="Freeform 16">
              <a:extLst>
                <a:ext uri="{FF2B5EF4-FFF2-40B4-BE49-F238E27FC236}">
                  <a16:creationId xmlns:a16="http://schemas.microsoft.com/office/drawing/2014/main" id="{FEB2627B-B1B7-43AF-847E-A00AAF1B5FDC}"/>
                </a:ext>
              </a:extLst>
            </p:cNvPr>
            <p:cNvSpPr/>
            <p:nvPr/>
          </p:nvSpPr>
          <p:spPr>
            <a:xfrm>
              <a:off x="1" y="-30631"/>
              <a:ext cx="9283396" cy="6709681"/>
            </a:xfrm>
            <a:custGeom>
              <a:avLst/>
              <a:gdLst>
                <a:gd name="connsiteX0" fmla="*/ 0 w 10778328"/>
                <a:gd name="connsiteY0" fmla="*/ 0 h 6858000"/>
                <a:gd name="connsiteX1" fmla="*/ 8652602 w 10778328"/>
                <a:gd name="connsiteY1" fmla="*/ 0 h 6858000"/>
                <a:gd name="connsiteX2" fmla="*/ 10305791 w 10778328"/>
                <a:gd name="connsiteY2" fmla="*/ 1653189 h 6858000"/>
                <a:gd name="connsiteX3" fmla="*/ 10305791 w 10778328"/>
                <a:gd name="connsiteY3" fmla="*/ 3934802 h 6858000"/>
                <a:gd name="connsiteX4" fmla="*/ 7382593 w 10778328"/>
                <a:gd name="connsiteY4" fmla="*/ 6858000 h 6858000"/>
                <a:gd name="connsiteX5" fmla="*/ 0 w 10778328"/>
                <a:gd name="connsiteY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78328" h="6858000">
                  <a:moveTo>
                    <a:pt x="0" y="0"/>
                  </a:moveTo>
                  <a:lnTo>
                    <a:pt x="8652602" y="0"/>
                  </a:lnTo>
                  <a:lnTo>
                    <a:pt x="10305791" y="1653189"/>
                  </a:lnTo>
                  <a:cubicBezTo>
                    <a:pt x="10935841" y="2283239"/>
                    <a:pt x="10935841" y="3304752"/>
                    <a:pt x="10305791" y="3934802"/>
                  </a:cubicBezTo>
                  <a:lnTo>
                    <a:pt x="7382593" y="6858000"/>
                  </a:lnTo>
                  <a:lnTo>
                    <a:pt x="0" y="6858000"/>
                  </a:lnTo>
                  <a:close/>
                </a:path>
              </a:pathLst>
            </a:custGeom>
            <a:gradFill>
              <a:gsLst>
                <a:gs pos="80000">
                  <a:schemeClr val="bg1"/>
                </a:gs>
                <a:gs pos="21000">
                  <a:schemeClr val="bg1">
                    <a:alpha val="44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  <p:sp>
          <p:nvSpPr>
            <p:cNvPr id="10" name="Freeform 17">
              <a:extLst>
                <a:ext uri="{FF2B5EF4-FFF2-40B4-BE49-F238E27FC236}">
                  <a16:creationId xmlns:a16="http://schemas.microsoft.com/office/drawing/2014/main" id="{177BD577-9DD5-431F-A945-B479AFDA80FD}"/>
                </a:ext>
              </a:extLst>
            </p:cNvPr>
            <p:cNvSpPr/>
            <p:nvPr/>
          </p:nvSpPr>
          <p:spPr>
            <a:xfrm>
              <a:off x="1128351" y="-30630"/>
              <a:ext cx="8921217" cy="6721615"/>
            </a:xfrm>
            <a:custGeom>
              <a:avLst/>
              <a:gdLst>
                <a:gd name="connsiteX0" fmla="*/ 86343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7367004 w 12192000"/>
                <a:gd name="connsiteY3" fmla="*/ 6858000 h 6858000"/>
                <a:gd name="connsiteX4" fmla="*/ 10284029 w 12192000"/>
                <a:gd name="connsiteY4" fmla="*/ 3934802 h 6858000"/>
                <a:gd name="connsiteX5" fmla="*/ 10284029 w 12192000"/>
                <a:gd name="connsiteY5" fmla="*/ 1653189 h 6858000"/>
                <a:gd name="connsiteX6" fmla="*/ 0 w 12192000"/>
                <a:gd name="connsiteY6" fmla="*/ 0 h 6858000"/>
                <a:gd name="connsiteX7" fmla="*/ 1 w 12192000"/>
                <a:gd name="connsiteY7" fmla="*/ 0 h 6858000"/>
                <a:gd name="connsiteX8" fmla="*/ 1 w 12192000"/>
                <a:gd name="connsiteY8" fmla="*/ 6858000 h 6858000"/>
                <a:gd name="connsiteX9" fmla="*/ 0 w 12192000"/>
                <a:gd name="connsiteY9" fmla="*/ 6858000 h 6858000"/>
                <a:gd name="connsiteX0" fmla="*/ 86343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7186405 w 12192000"/>
                <a:gd name="connsiteY3" fmla="*/ 6858000 h 6858000"/>
                <a:gd name="connsiteX4" fmla="*/ 10284029 w 12192000"/>
                <a:gd name="connsiteY4" fmla="*/ 3934802 h 6858000"/>
                <a:gd name="connsiteX5" fmla="*/ 10284029 w 12192000"/>
                <a:gd name="connsiteY5" fmla="*/ 1653189 h 6858000"/>
                <a:gd name="connsiteX6" fmla="*/ 8634331 w 12192000"/>
                <a:gd name="connsiteY6" fmla="*/ 0 h 6858000"/>
                <a:gd name="connsiteX7" fmla="*/ 0 w 12192000"/>
                <a:gd name="connsiteY7" fmla="*/ 0 h 6858000"/>
                <a:gd name="connsiteX8" fmla="*/ 1 w 12192000"/>
                <a:gd name="connsiteY8" fmla="*/ 0 h 6858000"/>
                <a:gd name="connsiteX9" fmla="*/ 1 w 12192000"/>
                <a:gd name="connsiteY9" fmla="*/ 6858000 h 6858000"/>
                <a:gd name="connsiteX10" fmla="*/ 0 w 12192000"/>
                <a:gd name="connsiteY10" fmla="*/ 6858000 h 6858000"/>
                <a:gd name="connsiteX11" fmla="*/ 0 w 12192000"/>
                <a:gd name="connsiteY11" fmla="*/ 0 h 6858000"/>
                <a:gd name="connsiteX0" fmla="*/ 8634331 w 12192000"/>
                <a:gd name="connsiteY0" fmla="*/ 0 h 6870197"/>
                <a:gd name="connsiteX1" fmla="*/ 12192000 w 12192000"/>
                <a:gd name="connsiteY1" fmla="*/ 0 h 6870197"/>
                <a:gd name="connsiteX2" fmla="*/ 12192000 w 12192000"/>
                <a:gd name="connsiteY2" fmla="*/ 6858000 h 6870197"/>
                <a:gd name="connsiteX3" fmla="*/ 7103051 w 12192000"/>
                <a:gd name="connsiteY3" fmla="*/ 6870197 h 6870197"/>
                <a:gd name="connsiteX4" fmla="*/ 10284029 w 12192000"/>
                <a:gd name="connsiteY4" fmla="*/ 3934802 h 6870197"/>
                <a:gd name="connsiteX5" fmla="*/ 10284029 w 12192000"/>
                <a:gd name="connsiteY5" fmla="*/ 1653189 h 6870197"/>
                <a:gd name="connsiteX6" fmla="*/ 8634331 w 12192000"/>
                <a:gd name="connsiteY6" fmla="*/ 0 h 6870197"/>
                <a:gd name="connsiteX7" fmla="*/ 0 w 12192000"/>
                <a:gd name="connsiteY7" fmla="*/ 0 h 6870197"/>
                <a:gd name="connsiteX8" fmla="*/ 1 w 12192000"/>
                <a:gd name="connsiteY8" fmla="*/ 0 h 6870197"/>
                <a:gd name="connsiteX9" fmla="*/ 1 w 12192000"/>
                <a:gd name="connsiteY9" fmla="*/ 6858000 h 6870197"/>
                <a:gd name="connsiteX10" fmla="*/ 0 w 12192000"/>
                <a:gd name="connsiteY10" fmla="*/ 6858000 h 6870197"/>
                <a:gd name="connsiteX11" fmla="*/ 0 w 12192000"/>
                <a:gd name="connsiteY11" fmla="*/ 0 h 6870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192000" h="6870197">
                  <a:moveTo>
                    <a:pt x="8634331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7103051" y="6870197"/>
                  </a:lnTo>
                  <a:cubicBezTo>
                    <a:pt x="8075393" y="5895798"/>
                    <a:pt x="9311687" y="4909201"/>
                    <a:pt x="10284029" y="3934802"/>
                  </a:cubicBezTo>
                  <a:cubicBezTo>
                    <a:pt x="10912748" y="3304752"/>
                    <a:pt x="10912748" y="2283239"/>
                    <a:pt x="10284029" y="1653189"/>
                  </a:cubicBezTo>
                  <a:lnTo>
                    <a:pt x="8634331" y="0"/>
                  </a:lnTo>
                  <a:close/>
                  <a:moveTo>
                    <a:pt x="0" y="0"/>
                  </a:moveTo>
                  <a:lnTo>
                    <a:pt x="1" y="0"/>
                  </a:lnTo>
                  <a:lnTo>
                    <a:pt x="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72000">
                  <a:srgbClr val="D82435">
                    <a:alpha val="11000"/>
                  </a:srgbClr>
                </a:gs>
                <a:gs pos="13000">
                  <a:srgbClr val="D82435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1" dirty="0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D9DBCECE-F207-4B6A-B471-E08E4AF45089}"/>
              </a:ext>
            </a:extLst>
          </p:cNvPr>
          <p:cNvSpPr txBox="1"/>
          <p:nvPr/>
        </p:nvSpPr>
        <p:spPr>
          <a:xfrm>
            <a:off x="7186743" y="3456002"/>
            <a:ext cx="4343400" cy="49244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1">
              <a:lnSpc>
                <a:spcPct val="90000"/>
              </a:lnSpc>
              <a:spcBef>
                <a:spcPct val="0"/>
              </a:spcBef>
              <a:buNone/>
              <a:defRPr lang="en-US" sz="3200" b="1" spc="-150" dirty="0">
                <a:solidFill>
                  <a:schemeClr val="bg1"/>
                </a:solidFill>
                <a:latin typeface="HelveticaNeueLT Arabic 75 Bold" panose="020B0804020202020204" pitchFamily="34" charset="-78"/>
                <a:ea typeface="Nexa Bold" charset="0"/>
                <a:cs typeface="HelveticaNeueLT Arabic 75 Bold" panose="020B0804020202020204" pitchFamily="34" charset="-78"/>
              </a:defRPr>
            </a:lvl1pPr>
          </a:lstStyle>
          <a:p>
            <a:pPr lvl="0"/>
            <a:r>
              <a:rPr lang="ar-SA" dirty="0">
                <a:solidFill>
                  <a:schemeClr val="tx1">
                    <a:lumMod val="75000"/>
                  </a:schemeClr>
                </a:solidFill>
              </a:rPr>
              <a:t>شكراً</a:t>
            </a:r>
            <a:endParaRPr lang="id-ID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6ECFAE-8ABB-4F1F-B5C7-263E4251B179}"/>
              </a:ext>
            </a:extLst>
          </p:cNvPr>
          <p:cNvSpPr txBox="1"/>
          <p:nvPr/>
        </p:nvSpPr>
        <p:spPr>
          <a:xfrm>
            <a:off x="9882560" y="5328736"/>
            <a:ext cx="976229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id-ID"/>
            </a:defPPr>
            <a:lvl1pPr>
              <a:defRPr sz="1200">
                <a:solidFill>
                  <a:schemeClr val="bg1"/>
                </a:solidFill>
                <a:latin typeface="Nexa Light"/>
              </a:defRPr>
            </a:lvl1pPr>
          </a:lstStyle>
          <a:p>
            <a:r>
              <a:rPr lang="en-US" sz="9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966 12 6222 840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54F9D85-6C59-433E-A75D-F1D3B1370AAA}"/>
              </a:ext>
            </a:extLst>
          </p:cNvPr>
          <p:cNvSpPr txBox="1"/>
          <p:nvPr/>
        </p:nvSpPr>
        <p:spPr>
          <a:xfrm>
            <a:off x="8036499" y="5328736"/>
            <a:ext cx="743793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/>
              </a:rPr>
              <a:t>www.kafaa.s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335393F-9A03-47B9-A7C6-7398744463AD}"/>
              </a:ext>
            </a:extLst>
          </p:cNvPr>
          <p:cNvSpPr txBox="1"/>
          <p:nvPr/>
        </p:nvSpPr>
        <p:spPr>
          <a:xfrm>
            <a:off x="8036491" y="5729722"/>
            <a:ext cx="62677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/>
              </a:rPr>
              <a:t>@kafaa_S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104BA13-C224-4972-9199-0AC7DD71A1B8}"/>
              </a:ext>
            </a:extLst>
          </p:cNvPr>
          <p:cNvSpPr txBox="1"/>
          <p:nvPr/>
        </p:nvSpPr>
        <p:spPr>
          <a:xfrm>
            <a:off x="8036491" y="6130070"/>
            <a:ext cx="62677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/>
              </a:rPr>
              <a:t>@kafaa_SA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002EDCF-8801-4260-BA78-EDA6FDE8F32B}"/>
              </a:ext>
            </a:extLst>
          </p:cNvPr>
          <p:cNvGrpSpPr/>
          <p:nvPr/>
        </p:nvGrpSpPr>
        <p:grpSpPr>
          <a:xfrm>
            <a:off x="9882559" y="5734241"/>
            <a:ext cx="1443257" cy="577879"/>
            <a:chOff x="3757399" y="4891157"/>
            <a:chExt cx="2686630" cy="770504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40EA04E-C24D-4298-97B0-37E1CD6E3005}"/>
                </a:ext>
              </a:extLst>
            </p:cNvPr>
            <p:cNvSpPr txBox="1"/>
            <p:nvPr/>
          </p:nvSpPr>
          <p:spPr>
            <a:xfrm>
              <a:off x="3757399" y="4891157"/>
              <a:ext cx="2686630" cy="1846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>
              <a:defPPr>
                <a:defRPr lang="id-ID"/>
              </a:defPPr>
              <a:lvl1pPr>
                <a:defRPr sz="1200">
                  <a:solidFill>
                    <a:schemeClr val="bg1"/>
                  </a:solidFill>
                  <a:latin typeface="Nexa Light"/>
                </a:defRPr>
              </a:lvl1pPr>
            </a:lstStyle>
            <a:p>
              <a:r>
                <a:rPr lang="en-US" sz="9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 7301 Prince Sultan - Al Muhamadyah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56089C4-C230-43BB-91B6-4D4E11E5E91D}"/>
                </a:ext>
              </a:extLst>
            </p:cNvPr>
            <p:cNvSpPr txBox="1"/>
            <p:nvPr/>
          </p:nvSpPr>
          <p:spPr>
            <a:xfrm>
              <a:off x="3757399" y="5184075"/>
              <a:ext cx="1667121" cy="1846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>
              <a:defPPr>
                <a:defRPr lang="id-ID"/>
              </a:defPPr>
              <a:lvl1pPr>
                <a:defRPr sz="1200">
                  <a:solidFill>
                    <a:schemeClr val="bg1"/>
                  </a:solidFill>
                  <a:latin typeface="Nexa Light"/>
                </a:defRPr>
              </a:lvl1pPr>
            </a:lstStyle>
            <a:p>
              <a:r>
                <a:rPr lang="en-US" sz="9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Jeddah  23625 - 2120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1B97D44-521B-4908-B24C-85F1BD805421}"/>
                </a:ext>
              </a:extLst>
            </p:cNvPr>
            <p:cNvSpPr txBox="1"/>
            <p:nvPr/>
          </p:nvSpPr>
          <p:spPr>
            <a:xfrm>
              <a:off x="3757399" y="5476996"/>
              <a:ext cx="769440" cy="1846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>
              <a:defPPr>
                <a:defRPr lang="id-ID"/>
              </a:defPPr>
              <a:lvl1pPr>
                <a:defRPr sz="1200">
                  <a:solidFill>
                    <a:schemeClr val="bg1"/>
                  </a:solidFill>
                  <a:latin typeface="Nexa Light"/>
                </a:defRPr>
              </a:lvl1pPr>
            </a:lstStyle>
            <a:p>
              <a:r>
                <a:rPr lang="en-US" sz="9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Saudi Arabia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AB108BB-49BC-44C9-B32B-8DDF1A72A618}"/>
              </a:ext>
            </a:extLst>
          </p:cNvPr>
          <p:cNvGrpSpPr/>
          <p:nvPr/>
        </p:nvGrpSpPr>
        <p:grpSpPr>
          <a:xfrm>
            <a:off x="7698850" y="6080612"/>
            <a:ext cx="215930" cy="214834"/>
            <a:chOff x="5682043" y="4553457"/>
            <a:chExt cx="287906" cy="286445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23" name="Freeform 155">
              <a:extLst>
                <a:ext uri="{FF2B5EF4-FFF2-40B4-BE49-F238E27FC236}">
                  <a16:creationId xmlns:a16="http://schemas.microsoft.com/office/drawing/2014/main" id="{D8ED683E-88C9-4B9A-85AB-4C16A87CF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8880" y="4638221"/>
              <a:ext cx="26306" cy="27768"/>
            </a:xfrm>
            <a:custGeom>
              <a:avLst/>
              <a:gdLst>
                <a:gd name="T0" fmla="*/ 36 w 36"/>
                <a:gd name="T1" fmla="*/ 36 h 38"/>
                <a:gd name="T2" fmla="*/ 36 w 36"/>
                <a:gd name="T3" fmla="*/ 6 h 38"/>
                <a:gd name="T4" fmla="*/ 36 w 36"/>
                <a:gd name="T5" fmla="*/ 0 h 38"/>
                <a:gd name="T6" fmla="*/ 30 w 36"/>
                <a:gd name="T7" fmla="*/ 0 h 38"/>
                <a:gd name="T8" fmla="*/ 0 w 36"/>
                <a:gd name="T9" fmla="*/ 0 h 38"/>
                <a:gd name="T10" fmla="*/ 0 w 36"/>
                <a:gd name="T11" fmla="*/ 38 h 38"/>
                <a:gd name="T12" fmla="*/ 36 w 36"/>
                <a:gd name="T13" fmla="*/ 3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8">
                  <a:moveTo>
                    <a:pt x="36" y="36"/>
                  </a:move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3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b="1" dirty="0"/>
            </a:p>
          </p:txBody>
        </p:sp>
        <p:sp>
          <p:nvSpPr>
            <p:cNvPr id="24" name="Freeform 156">
              <a:extLst>
                <a:ext uri="{FF2B5EF4-FFF2-40B4-BE49-F238E27FC236}">
                  <a16:creationId xmlns:a16="http://schemas.microsoft.com/office/drawing/2014/main" id="{7CAF168F-2BE3-4809-9DCD-3046B07A7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498" y="4671835"/>
              <a:ext cx="55535" cy="54074"/>
            </a:xfrm>
            <a:custGeom>
              <a:avLst/>
              <a:gdLst>
                <a:gd name="T0" fmla="*/ 38 w 76"/>
                <a:gd name="T1" fmla="*/ 74 h 74"/>
                <a:gd name="T2" fmla="*/ 38 w 76"/>
                <a:gd name="T3" fmla="*/ 74 h 74"/>
                <a:gd name="T4" fmla="*/ 44 w 76"/>
                <a:gd name="T5" fmla="*/ 74 h 74"/>
                <a:gd name="T6" fmla="*/ 52 w 76"/>
                <a:gd name="T7" fmla="*/ 72 h 74"/>
                <a:gd name="T8" fmla="*/ 58 w 76"/>
                <a:gd name="T9" fmla="*/ 68 h 74"/>
                <a:gd name="T10" fmla="*/ 64 w 76"/>
                <a:gd name="T11" fmla="*/ 64 h 74"/>
                <a:gd name="T12" fmla="*/ 68 w 76"/>
                <a:gd name="T13" fmla="*/ 58 h 74"/>
                <a:gd name="T14" fmla="*/ 72 w 76"/>
                <a:gd name="T15" fmla="*/ 52 h 74"/>
                <a:gd name="T16" fmla="*/ 74 w 76"/>
                <a:gd name="T17" fmla="*/ 44 h 74"/>
                <a:gd name="T18" fmla="*/ 76 w 76"/>
                <a:gd name="T19" fmla="*/ 38 h 74"/>
                <a:gd name="T20" fmla="*/ 76 w 76"/>
                <a:gd name="T21" fmla="*/ 38 h 74"/>
                <a:gd name="T22" fmla="*/ 74 w 76"/>
                <a:gd name="T23" fmla="*/ 26 h 74"/>
                <a:gd name="T24" fmla="*/ 68 w 76"/>
                <a:gd name="T25" fmla="*/ 16 h 74"/>
                <a:gd name="T26" fmla="*/ 68 w 76"/>
                <a:gd name="T27" fmla="*/ 16 h 74"/>
                <a:gd name="T28" fmla="*/ 62 w 76"/>
                <a:gd name="T29" fmla="*/ 8 h 74"/>
                <a:gd name="T30" fmla="*/ 54 w 76"/>
                <a:gd name="T31" fmla="*/ 4 h 74"/>
                <a:gd name="T32" fmla="*/ 46 w 76"/>
                <a:gd name="T33" fmla="*/ 0 h 74"/>
                <a:gd name="T34" fmla="*/ 38 w 76"/>
                <a:gd name="T35" fmla="*/ 0 h 74"/>
                <a:gd name="T36" fmla="*/ 38 w 76"/>
                <a:gd name="T37" fmla="*/ 0 h 74"/>
                <a:gd name="T38" fmla="*/ 28 w 76"/>
                <a:gd name="T39" fmla="*/ 0 h 74"/>
                <a:gd name="T40" fmla="*/ 20 w 76"/>
                <a:gd name="T41" fmla="*/ 4 h 74"/>
                <a:gd name="T42" fmla="*/ 12 w 76"/>
                <a:gd name="T43" fmla="*/ 8 h 74"/>
                <a:gd name="T44" fmla="*/ 6 w 76"/>
                <a:gd name="T45" fmla="*/ 16 h 74"/>
                <a:gd name="T46" fmla="*/ 6 w 76"/>
                <a:gd name="T47" fmla="*/ 16 h 74"/>
                <a:gd name="T48" fmla="*/ 2 w 76"/>
                <a:gd name="T49" fmla="*/ 26 h 74"/>
                <a:gd name="T50" fmla="*/ 0 w 76"/>
                <a:gd name="T51" fmla="*/ 38 h 74"/>
                <a:gd name="T52" fmla="*/ 0 w 76"/>
                <a:gd name="T53" fmla="*/ 38 h 74"/>
                <a:gd name="T54" fmla="*/ 0 w 76"/>
                <a:gd name="T55" fmla="*/ 44 h 74"/>
                <a:gd name="T56" fmla="*/ 2 w 76"/>
                <a:gd name="T57" fmla="*/ 52 h 74"/>
                <a:gd name="T58" fmla="*/ 6 w 76"/>
                <a:gd name="T59" fmla="*/ 58 h 74"/>
                <a:gd name="T60" fmla="*/ 10 w 76"/>
                <a:gd name="T61" fmla="*/ 64 h 74"/>
                <a:gd name="T62" fmla="*/ 16 w 76"/>
                <a:gd name="T63" fmla="*/ 68 h 74"/>
                <a:gd name="T64" fmla="*/ 22 w 76"/>
                <a:gd name="T65" fmla="*/ 72 h 74"/>
                <a:gd name="T66" fmla="*/ 30 w 76"/>
                <a:gd name="T67" fmla="*/ 74 h 74"/>
                <a:gd name="T68" fmla="*/ 38 w 76"/>
                <a:gd name="T69" fmla="*/ 74 h 74"/>
                <a:gd name="T70" fmla="*/ 38 w 76"/>
                <a:gd name="T71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6" h="74">
                  <a:moveTo>
                    <a:pt x="38" y="74"/>
                  </a:moveTo>
                  <a:lnTo>
                    <a:pt x="38" y="74"/>
                  </a:lnTo>
                  <a:lnTo>
                    <a:pt x="44" y="74"/>
                  </a:lnTo>
                  <a:lnTo>
                    <a:pt x="52" y="72"/>
                  </a:lnTo>
                  <a:lnTo>
                    <a:pt x="58" y="68"/>
                  </a:lnTo>
                  <a:lnTo>
                    <a:pt x="64" y="64"/>
                  </a:lnTo>
                  <a:lnTo>
                    <a:pt x="68" y="58"/>
                  </a:lnTo>
                  <a:lnTo>
                    <a:pt x="72" y="52"/>
                  </a:lnTo>
                  <a:lnTo>
                    <a:pt x="74" y="44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4" y="2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2" y="8"/>
                  </a:lnTo>
                  <a:lnTo>
                    <a:pt x="54" y="4"/>
                  </a:lnTo>
                  <a:lnTo>
                    <a:pt x="46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28" y="0"/>
                  </a:lnTo>
                  <a:lnTo>
                    <a:pt x="20" y="4"/>
                  </a:lnTo>
                  <a:lnTo>
                    <a:pt x="12" y="8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2" y="26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44"/>
                  </a:lnTo>
                  <a:lnTo>
                    <a:pt x="2" y="52"/>
                  </a:lnTo>
                  <a:lnTo>
                    <a:pt x="6" y="58"/>
                  </a:lnTo>
                  <a:lnTo>
                    <a:pt x="10" y="64"/>
                  </a:lnTo>
                  <a:lnTo>
                    <a:pt x="16" y="68"/>
                  </a:lnTo>
                  <a:lnTo>
                    <a:pt x="22" y="72"/>
                  </a:lnTo>
                  <a:lnTo>
                    <a:pt x="30" y="74"/>
                  </a:lnTo>
                  <a:lnTo>
                    <a:pt x="38" y="74"/>
                  </a:lnTo>
                  <a:lnTo>
                    <a:pt x="38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b="1" dirty="0"/>
            </a:p>
          </p:txBody>
        </p:sp>
        <p:sp>
          <p:nvSpPr>
            <p:cNvPr id="25" name="Freeform 157">
              <a:extLst>
                <a:ext uri="{FF2B5EF4-FFF2-40B4-BE49-F238E27FC236}">
                  <a16:creationId xmlns:a16="http://schemas.microsoft.com/office/drawing/2014/main" id="{1759E31A-3DB5-49EA-99F2-CE115144AB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2043" y="4553457"/>
              <a:ext cx="287906" cy="286445"/>
            </a:xfrm>
            <a:custGeom>
              <a:avLst/>
              <a:gdLst>
                <a:gd name="T0" fmla="*/ 196 w 393"/>
                <a:gd name="T1" fmla="*/ 0 h 391"/>
                <a:gd name="T2" fmla="*/ 156 w 393"/>
                <a:gd name="T3" fmla="*/ 4 h 391"/>
                <a:gd name="T4" fmla="*/ 120 w 393"/>
                <a:gd name="T5" fmla="*/ 14 h 391"/>
                <a:gd name="T6" fmla="*/ 86 w 393"/>
                <a:gd name="T7" fmla="*/ 32 h 391"/>
                <a:gd name="T8" fmla="*/ 58 w 393"/>
                <a:gd name="T9" fmla="*/ 56 h 391"/>
                <a:gd name="T10" fmla="*/ 32 w 393"/>
                <a:gd name="T11" fmla="*/ 86 h 391"/>
                <a:gd name="T12" fmla="*/ 14 w 393"/>
                <a:gd name="T13" fmla="*/ 120 h 391"/>
                <a:gd name="T14" fmla="*/ 4 w 393"/>
                <a:gd name="T15" fmla="*/ 156 h 391"/>
                <a:gd name="T16" fmla="*/ 0 w 393"/>
                <a:gd name="T17" fmla="*/ 196 h 391"/>
                <a:gd name="T18" fmla="*/ 0 w 393"/>
                <a:gd name="T19" fmla="*/ 216 h 391"/>
                <a:gd name="T20" fmla="*/ 8 w 393"/>
                <a:gd name="T21" fmla="*/ 254 h 391"/>
                <a:gd name="T22" fmla="*/ 24 w 393"/>
                <a:gd name="T23" fmla="*/ 290 h 391"/>
                <a:gd name="T24" fmla="*/ 44 w 393"/>
                <a:gd name="T25" fmla="*/ 321 h 391"/>
                <a:gd name="T26" fmla="*/ 70 w 393"/>
                <a:gd name="T27" fmla="*/ 347 h 391"/>
                <a:gd name="T28" fmla="*/ 102 w 393"/>
                <a:gd name="T29" fmla="*/ 369 h 391"/>
                <a:gd name="T30" fmla="*/ 138 w 393"/>
                <a:gd name="T31" fmla="*/ 383 h 391"/>
                <a:gd name="T32" fmla="*/ 176 w 393"/>
                <a:gd name="T33" fmla="*/ 391 h 391"/>
                <a:gd name="T34" fmla="*/ 196 w 393"/>
                <a:gd name="T35" fmla="*/ 391 h 391"/>
                <a:gd name="T36" fmla="*/ 236 w 393"/>
                <a:gd name="T37" fmla="*/ 387 h 391"/>
                <a:gd name="T38" fmla="*/ 272 w 393"/>
                <a:gd name="T39" fmla="*/ 377 h 391"/>
                <a:gd name="T40" fmla="*/ 305 w 393"/>
                <a:gd name="T41" fmla="*/ 359 h 391"/>
                <a:gd name="T42" fmla="*/ 335 w 393"/>
                <a:gd name="T43" fmla="*/ 335 h 391"/>
                <a:gd name="T44" fmla="*/ 359 w 393"/>
                <a:gd name="T45" fmla="*/ 306 h 391"/>
                <a:gd name="T46" fmla="*/ 377 w 393"/>
                <a:gd name="T47" fmla="*/ 272 h 391"/>
                <a:gd name="T48" fmla="*/ 389 w 393"/>
                <a:gd name="T49" fmla="*/ 236 h 391"/>
                <a:gd name="T50" fmla="*/ 393 w 393"/>
                <a:gd name="T51" fmla="*/ 196 h 391"/>
                <a:gd name="T52" fmla="*/ 391 w 393"/>
                <a:gd name="T53" fmla="*/ 176 h 391"/>
                <a:gd name="T54" fmla="*/ 383 w 393"/>
                <a:gd name="T55" fmla="*/ 138 h 391"/>
                <a:gd name="T56" fmla="*/ 369 w 393"/>
                <a:gd name="T57" fmla="*/ 102 h 391"/>
                <a:gd name="T58" fmla="*/ 347 w 393"/>
                <a:gd name="T59" fmla="*/ 70 h 391"/>
                <a:gd name="T60" fmla="*/ 321 w 393"/>
                <a:gd name="T61" fmla="*/ 44 h 391"/>
                <a:gd name="T62" fmla="*/ 290 w 393"/>
                <a:gd name="T63" fmla="*/ 22 h 391"/>
                <a:gd name="T64" fmla="*/ 254 w 393"/>
                <a:gd name="T65" fmla="*/ 8 h 391"/>
                <a:gd name="T66" fmla="*/ 216 w 393"/>
                <a:gd name="T67" fmla="*/ 0 h 391"/>
                <a:gd name="T68" fmla="*/ 196 w 393"/>
                <a:gd name="T69" fmla="*/ 0 h 391"/>
                <a:gd name="T70" fmla="*/ 301 w 393"/>
                <a:gd name="T71" fmla="*/ 264 h 391"/>
                <a:gd name="T72" fmla="*/ 301 w 393"/>
                <a:gd name="T73" fmla="*/ 274 h 391"/>
                <a:gd name="T74" fmla="*/ 296 w 393"/>
                <a:gd name="T75" fmla="*/ 288 h 391"/>
                <a:gd name="T76" fmla="*/ 284 w 393"/>
                <a:gd name="T77" fmla="*/ 300 h 391"/>
                <a:gd name="T78" fmla="*/ 270 w 393"/>
                <a:gd name="T79" fmla="*/ 306 h 391"/>
                <a:gd name="T80" fmla="*/ 130 w 393"/>
                <a:gd name="T81" fmla="*/ 306 h 391"/>
                <a:gd name="T82" fmla="*/ 122 w 393"/>
                <a:gd name="T83" fmla="*/ 306 h 391"/>
                <a:gd name="T84" fmla="*/ 106 w 393"/>
                <a:gd name="T85" fmla="*/ 300 h 391"/>
                <a:gd name="T86" fmla="*/ 96 w 393"/>
                <a:gd name="T87" fmla="*/ 288 h 391"/>
                <a:gd name="T88" fmla="*/ 90 w 393"/>
                <a:gd name="T89" fmla="*/ 274 h 391"/>
                <a:gd name="T90" fmla="*/ 88 w 393"/>
                <a:gd name="T91" fmla="*/ 178 h 391"/>
                <a:gd name="T92" fmla="*/ 88 w 393"/>
                <a:gd name="T93" fmla="*/ 134 h 391"/>
                <a:gd name="T94" fmla="*/ 92 w 393"/>
                <a:gd name="T95" fmla="*/ 118 h 391"/>
                <a:gd name="T96" fmla="*/ 100 w 393"/>
                <a:gd name="T97" fmla="*/ 104 h 391"/>
                <a:gd name="T98" fmla="*/ 114 w 393"/>
                <a:gd name="T99" fmla="*/ 96 h 391"/>
                <a:gd name="T100" fmla="*/ 130 w 393"/>
                <a:gd name="T101" fmla="*/ 92 h 391"/>
                <a:gd name="T102" fmla="*/ 262 w 393"/>
                <a:gd name="T103" fmla="*/ 92 h 391"/>
                <a:gd name="T104" fmla="*/ 278 w 393"/>
                <a:gd name="T105" fmla="*/ 96 h 391"/>
                <a:gd name="T106" fmla="*/ 290 w 393"/>
                <a:gd name="T107" fmla="*/ 104 h 391"/>
                <a:gd name="T108" fmla="*/ 300 w 393"/>
                <a:gd name="T109" fmla="*/ 118 h 391"/>
                <a:gd name="T110" fmla="*/ 301 w 393"/>
                <a:gd name="T111" fmla="*/ 134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93" h="391">
                  <a:moveTo>
                    <a:pt x="196" y="0"/>
                  </a:moveTo>
                  <a:lnTo>
                    <a:pt x="196" y="0"/>
                  </a:lnTo>
                  <a:lnTo>
                    <a:pt x="176" y="0"/>
                  </a:lnTo>
                  <a:lnTo>
                    <a:pt x="156" y="4"/>
                  </a:lnTo>
                  <a:lnTo>
                    <a:pt x="138" y="8"/>
                  </a:lnTo>
                  <a:lnTo>
                    <a:pt x="120" y="14"/>
                  </a:lnTo>
                  <a:lnTo>
                    <a:pt x="102" y="22"/>
                  </a:lnTo>
                  <a:lnTo>
                    <a:pt x="86" y="32"/>
                  </a:lnTo>
                  <a:lnTo>
                    <a:pt x="70" y="44"/>
                  </a:lnTo>
                  <a:lnTo>
                    <a:pt x="58" y="56"/>
                  </a:lnTo>
                  <a:lnTo>
                    <a:pt x="44" y="70"/>
                  </a:lnTo>
                  <a:lnTo>
                    <a:pt x="32" y="86"/>
                  </a:lnTo>
                  <a:lnTo>
                    <a:pt x="24" y="102"/>
                  </a:lnTo>
                  <a:lnTo>
                    <a:pt x="14" y="120"/>
                  </a:lnTo>
                  <a:lnTo>
                    <a:pt x="8" y="138"/>
                  </a:lnTo>
                  <a:lnTo>
                    <a:pt x="4" y="156"/>
                  </a:lnTo>
                  <a:lnTo>
                    <a:pt x="0" y="176"/>
                  </a:lnTo>
                  <a:lnTo>
                    <a:pt x="0" y="196"/>
                  </a:lnTo>
                  <a:lnTo>
                    <a:pt x="0" y="196"/>
                  </a:lnTo>
                  <a:lnTo>
                    <a:pt x="0" y="216"/>
                  </a:lnTo>
                  <a:lnTo>
                    <a:pt x="4" y="236"/>
                  </a:lnTo>
                  <a:lnTo>
                    <a:pt x="8" y="254"/>
                  </a:lnTo>
                  <a:lnTo>
                    <a:pt x="14" y="272"/>
                  </a:lnTo>
                  <a:lnTo>
                    <a:pt x="24" y="290"/>
                  </a:lnTo>
                  <a:lnTo>
                    <a:pt x="32" y="306"/>
                  </a:lnTo>
                  <a:lnTo>
                    <a:pt x="44" y="321"/>
                  </a:lnTo>
                  <a:lnTo>
                    <a:pt x="58" y="335"/>
                  </a:lnTo>
                  <a:lnTo>
                    <a:pt x="70" y="347"/>
                  </a:lnTo>
                  <a:lnTo>
                    <a:pt x="86" y="359"/>
                  </a:lnTo>
                  <a:lnTo>
                    <a:pt x="102" y="369"/>
                  </a:lnTo>
                  <a:lnTo>
                    <a:pt x="120" y="377"/>
                  </a:lnTo>
                  <a:lnTo>
                    <a:pt x="138" y="383"/>
                  </a:lnTo>
                  <a:lnTo>
                    <a:pt x="156" y="387"/>
                  </a:lnTo>
                  <a:lnTo>
                    <a:pt x="176" y="391"/>
                  </a:lnTo>
                  <a:lnTo>
                    <a:pt x="196" y="391"/>
                  </a:lnTo>
                  <a:lnTo>
                    <a:pt x="196" y="391"/>
                  </a:lnTo>
                  <a:lnTo>
                    <a:pt x="216" y="391"/>
                  </a:lnTo>
                  <a:lnTo>
                    <a:pt x="236" y="387"/>
                  </a:lnTo>
                  <a:lnTo>
                    <a:pt x="254" y="383"/>
                  </a:lnTo>
                  <a:lnTo>
                    <a:pt x="272" y="377"/>
                  </a:lnTo>
                  <a:lnTo>
                    <a:pt x="290" y="369"/>
                  </a:lnTo>
                  <a:lnTo>
                    <a:pt x="305" y="359"/>
                  </a:lnTo>
                  <a:lnTo>
                    <a:pt x="321" y="347"/>
                  </a:lnTo>
                  <a:lnTo>
                    <a:pt x="335" y="335"/>
                  </a:lnTo>
                  <a:lnTo>
                    <a:pt x="347" y="321"/>
                  </a:lnTo>
                  <a:lnTo>
                    <a:pt x="359" y="306"/>
                  </a:lnTo>
                  <a:lnTo>
                    <a:pt x="369" y="290"/>
                  </a:lnTo>
                  <a:lnTo>
                    <a:pt x="377" y="272"/>
                  </a:lnTo>
                  <a:lnTo>
                    <a:pt x="383" y="254"/>
                  </a:lnTo>
                  <a:lnTo>
                    <a:pt x="389" y="236"/>
                  </a:lnTo>
                  <a:lnTo>
                    <a:pt x="391" y="216"/>
                  </a:lnTo>
                  <a:lnTo>
                    <a:pt x="393" y="196"/>
                  </a:lnTo>
                  <a:lnTo>
                    <a:pt x="393" y="196"/>
                  </a:lnTo>
                  <a:lnTo>
                    <a:pt x="391" y="176"/>
                  </a:lnTo>
                  <a:lnTo>
                    <a:pt x="389" y="156"/>
                  </a:lnTo>
                  <a:lnTo>
                    <a:pt x="383" y="138"/>
                  </a:lnTo>
                  <a:lnTo>
                    <a:pt x="377" y="120"/>
                  </a:lnTo>
                  <a:lnTo>
                    <a:pt x="369" y="102"/>
                  </a:lnTo>
                  <a:lnTo>
                    <a:pt x="359" y="86"/>
                  </a:lnTo>
                  <a:lnTo>
                    <a:pt x="347" y="70"/>
                  </a:lnTo>
                  <a:lnTo>
                    <a:pt x="335" y="56"/>
                  </a:lnTo>
                  <a:lnTo>
                    <a:pt x="321" y="44"/>
                  </a:lnTo>
                  <a:lnTo>
                    <a:pt x="305" y="32"/>
                  </a:lnTo>
                  <a:lnTo>
                    <a:pt x="290" y="22"/>
                  </a:lnTo>
                  <a:lnTo>
                    <a:pt x="272" y="14"/>
                  </a:lnTo>
                  <a:lnTo>
                    <a:pt x="254" y="8"/>
                  </a:lnTo>
                  <a:lnTo>
                    <a:pt x="236" y="4"/>
                  </a:lnTo>
                  <a:lnTo>
                    <a:pt x="216" y="0"/>
                  </a:lnTo>
                  <a:lnTo>
                    <a:pt x="196" y="0"/>
                  </a:lnTo>
                  <a:lnTo>
                    <a:pt x="196" y="0"/>
                  </a:lnTo>
                  <a:close/>
                  <a:moveTo>
                    <a:pt x="301" y="178"/>
                  </a:moveTo>
                  <a:lnTo>
                    <a:pt x="301" y="264"/>
                  </a:lnTo>
                  <a:lnTo>
                    <a:pt x="301" y="264"/>
                  </a:lnTo>
                  <a:lnTo>
                    <a:pt x="301" y="274"/>
                  </a:lnTo>
                  <a:lnTo>
                    <a:pt x="300" y="280"/>
                  </a:lnTo>
                  <a:lnTo>
                    <a:pt x="296" y="288"/>
                  </a:lnTo>
                  <a:lnTo>
                    <a:pt x="290" y="294"/>
                  </a:lnTo>
                  <a:lnTo>
                    <a:pt x="284" y="300"/>
                  </a:lnTo>
                  <a:lnTo>
                    <a:pt x="278" y="302"/>
                  </a:lnTo>
                  <a:lnTo>
                    <a:pt x="270" y="306"/>
                  </a:lnTo>
                  <a:lnTo>
                    <a:pt x="262" y="306"/>
                  </a:lnTo>
                  <a:lnTo>
                    <a:pt x="130" y="306"/>
                  </a:lnTo>
                  <a:lnTo>
                    <a:pt x="130" y="306"/>
                  </a:lnTo>
                  <a:lnTo>
                    <a:pt x="122" y="306"/>
                  </a:lnTo>
                  <a:lnTo>
                    <a:pt x="114" y="302"/>
                  </a:lnTo>
                  <a:lnTo>
                    <a:pt x="106" y="300"/>
                  </a:lnTo>
                  <a:lnTo>
                    <a:pt x="100" y="294"/>
                  </a:lnTo>
                  <a:lnTo>
                    <a:pt x="96" y="288"/>
                  </a:lnTo>
                  <a:lnTo>
                    <a:pt x="92" y="280"/>
                  </a:lnTo>
                  <a:lnTo>
                    <a:pt x="90" y="274"/>
                  </a:lnTo>
                  <a:lnTo>
                    <a:pt x="88" y="264"/>
                  </a:lnTo>
                  <a:lnTo>
                    <a:pt x="88" y="178"/>
                  </a:lnTo>
                  <a:lnTo>
                    <a:pt x="88" y="134"/>
                  </a:lnTo>
                  <a:lnTo>
                    <a:pt x="88" y="134"/>
                  </a:lnTo>
                  <a:lnTo>
                    <a:pt x="90" y="124"/>
                  </a:lnTo>
                  <a:lnTo>
                    <a:pt x="92" y="118"/>
                  </a:lnTo>
                  <a:lnTo>
                    <a:pt x="96" y="110"/>
                  </a:lnTo>
                  <a:lnTo>
                    <a:pt x="100" y="104"/>
                  </a:lnTo>
                  <a:lnTo>
                    <a:pt x="106" y="98"/>
                  </a:lnTo>
                  <a:lnTo>
                    <a:pt x="114" y="96"/>
                  </a:lnTo>
                  <a:lnTo>
                    <a:pt x="122" y="92"/>
                  </a:lnTo>
                  <a:lnTo>
                    <a:pt x="130" y="92"/>
                  </a:lnTo>
                  <a:lnTo>
                    <a:pt x="262" y="92"/>
                  </a:lnTo>
                  <a:lnTo>
                    <a:pt x="262" y="92"/>
                  </a:lnTo>
                  <a:lnTo>
                    <a:pt x="270" y="92"/>
                  </a:lnTo>
                  <a:lnTo>
                    <a:pt x="278" y="96"/>
                  </a:lnTo>
                  <a:lnTo>
                    <a:pt x="284" y="98"/>
                  </a:lnTo>
                  <a:lnTo>
                    <a:pt x="290" y="104"/>
                  </a:lnTo>
                  <a:lnTo>
                    <a:pt x="296" y="110"/>
                  </a:lnTo>
                  <a:lnTo>
                    <a:pt x="300" y="118"/>
                  </a:lnTo>
                  <a:lnTo>
                    <a:pt x="301" y="124"/>
                  </a:lnTo>
                  <a:lnTo>
                    <a:pt x="301" y="134"/>
                  </a:lnTo>
                  <a:lnTo>
                    <a:pt x="301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b="1" dirty="0"/>
            </a:p>
          </p:txBody>
        </p:sp>
        <p:sp>
          <p:nvSpPr>
            <p:cNvPr id="26" name="Freeform 158">
              <a:extLst>
                <a:ext uri="{FF2B5EF4-FFF2-40B4-BE49-F238E27FC236}">
                  <a16:creationId xmlns:a16="http://schemas.microsoft.com/office/drawing/2014/main" id="{00A5A721-D552-43BE-B01E-38BC9C0FA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2424" y="4683527"/>
              <a:ext cx="125685" cy="78919"/>
            </a:xfrm>
            <a:custGeom>
              <a:avLst/>
              <a:gdLst>
                <a:gd name="T0" fmla="*/ 144 w 172"/>
                <a:gd name="T1" fmla="*/ 22 h 108"/>
                <a:gd name="T2" fmla="*/ 144 w 172"/>
                <a:gd name="T3" fmla="*/ 22 h 108"/>
                <a:gd name="T4" fmla="*/ 142 w 172"/>
                <a:gd name="T5" fmla="*/ 32 h 108"/>
                <a:gd name="T6" fmla="*/ 140 w 172"/>
                <a:gd name="T7" fmla="*/ 44 h 108"/>
                <a:gd name="T8" fmla="*/ 134 w 172"/>
                <a:gd name="T9" fmla="*/ 54 h 108"/>
                <a:gd name="T10" fmla="*/ 126 w 172"/>
                <a:gd name="T11" fmla="*/ 62 h 108"/>
                <a:gd name="T12" fmla="*/ 118 w 172"/>
                <a:gd name="T13" fmla="*/ 70 h 108"/>
                <a:gd name="T14" fmla="*/ 108 w 172"/>
                <a:gd name="T15" fmla="*/ 74 h 108"/>
                <a:gd name="T16" fmla="*/ 98 w 172"/>
                <a:gd name="T17" fmla="*/ 78 h 108"/>
                <a:gd name="T18" fmla="*/ 86 w 172"/>
                <a:gd name="T19" fmla="*/ 80 h 108"/>
                <a:gd name="T20" fmla="*/ 86 w 172"/>
                <a:gd name="T21" fmla="*/ 80 h 108"/>
                <a:gd name="T22" fmla="*/ 74 w 172"/>
                <a:gd name="T23" fmla="*/ 78 h 108"/>
                <a:gd name="T24" fmla="*/ 62 w 172"/>
                <a:gd name="T25" fmla="*/ 74 h 108"/>
                <a:gd name="T26" fmla="*/ 52 w 172"/>
                <a:gd name="T27" fmla="*/ 70 h 108"/>
                <a:gd name="T28" fmla="*/ 44 w 172"/>
                <a:gd name="T29" fmla="*/ 62 h 108"/>
                <a:gd name="T30" fmla="*/ 36 w 172"/>
                <a:gd name="T31" fmla="*/ 54 h 108"/>
                <a:gd name="T32" fmla="*/ 32 w 172"/>
                <a:gd name="T33" fmla="*/ 44 h 108"/>
                <a:gd name="T34" fmla="*/ 28 w 172"/>
                <a:gd name="T35" fmla="*/ 32 h 108"/>
                <a:gd name="T36" fmla="*/ 26 w 172"/>
                <a:gd name="T37" fmla="*/ 22 h 108"/>
                <a:gd name="T38" fmla="*/ 26 w 172"/>
                <a:gd name="T39" fmla="*/ 22 h 108"/>
                <a:gd name="T40" fmla="*/ 28 w 172"/>
                <a:gd name="T41" fmla="*/ 10 h 108"/>
                <a:gd name="T42" fmla="*/ 32 w 172"/>
                <a:gd name="T43" fmla="*/ 0 h 108"/>
                <a:gd name="T44" fmla="*/ 0 w 172"/>
                <a:gd name="T45" fmla="*/ 0 h 108"/>
                <a:gd name="T46" fmla="*/ 0 w 172"/>
                <a:gd name="T47" fmla="*/ 86 h 108"/>
                <a:gd name="T48" fmla="*/ 0 w 172"/>
                <a:gd name="T49" fmla="*/ 86 h 108"/>
                <a:gd name="T50" fmla="*/ 0 w 172"/>
                <a:gd name="T51" fmla="*/ 94 h 108"/>
                <a:gd name="T52" fmla="*/ 6 w 172"/>
                <a:gd name="T53" fmla="*/ 102 h 108"/>
                <a:gd name="T54" fmla="*/ 12 w 172"/>
                <a:gd name="T55" fmla="*/ 106 h 108"/>
                <a:gd name="T56" fmla="*/ 20 w 172"/>
                <a:gd name="T57" fmla="*/ 108 h 108"/>
                <a:gd name="T58" fmla="*/ 152 w 172"/>
                <a:gd name="T59" fmla="*/ 108 h 108"/>
                <a:gd name="T60" fmla="*/ 152 w 172"/>
                <a:gd name="T61" fmla="*/ 108 h 108"/>
                <a:gd name="T62" fmla="*/ 160 w 172"/>
                <a:gd name="T63" fmla="*/ 106 h 108"/>
                <a:gd name="T64" fmla="*/ 166 w 172"/>
                <a:gd name="T65" fmla="*/ 102 h 108"/>
                <a:gd name="T66" fmla="*/ 170 w 172"/>
                <a:gd name="T67" fmla="*/ 94 h 108"/>
                <a:gd name="T68" fmla="*/ 172 w 172"/>
                <a:gd name="T69" fmla="*/ 86 h 108"/>
                <a:gd name="T70" fmla="*/ 172 w 172"/>
                <a:gd name="T71" fmla="*/ 0 h 108"/>
                <a:gd name="T72" fmla="*/ 140 w 172"/>
                <a:gd name="T73" fmla="*/ 0 h 108"/>
                <a:gd name="T74" fmla="*/ 140 w 172"/>
                <a:gd name="T75" fmla="*/ 0 h 108"/>
                <a:gd name="T76" fmla="*/ 142 w 172"/>
                <a:gd name="T77" fmla="*/ 10 h 108"/>
                <a:gd name="T78" fmla="*/ 144 w 172"/>
                <a:gd name="T79" fmla="*/ 22 h 108"/>
                <a:gd name="T80" fmla="*/ 144 w 172"/>
                <a:gd name="T81" fmla="*/ 2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72" h="108">
                  <a:moveTo>
                    <a:pt x="144" y="22"/>
                  </a:moveTo>
                  <a:lnTo>
                    <a:pt x="144" y="22"/>
                  </a:lnTo>
                  <a:lnTo>
                    <a:pt x="142" y="32"/>
                  </a:lnTo>
                  <a:lnTo>
                    <a:pt x="140" y="44"/>
                  </a:lnTo>
                  <a:lnTo>
                    <a:pt x="134" y="54"/>
                  </a:lnTo>
                  <a:lnTo>
                    <a:pt x="126" y="62"/>
                  </a:lnTo>
                  <a:lnTo>
                    <a:pt x="118" y="70"/>
                  </a:lnTo>
                  <a:lnTo>
                    <a:pt x="108" y="74"/>
                  </a:lnTo>
                  <a:lnTo>
                    <a:pt x="98" y="78"/>
                  </a:lnTo>
                  <a:lnTo>
                    <a:pt x="86" y="80"/>
                  </a:lnTo>
                  <a:lnTo>
                    <a:pt x="86" y="80"/>
                  </a:lnTo>
                  <a:lnTo>
                    <a:pt x="74" y="78"/>
                  </a:lnTo>
                  <a:lnTo>
                    <a:pt x="62" y="74"/>
                  </a:lnTo>
                  <a:lnTo>
                    <a:pt x="52" y="70"/>
                  </a:lnTo>
                  <a:lnTo>
                    <a:pt x="44" y="62"/>
                  </a:lnTo>
                  <a:lnTo>
                    <a:pt x="36" y="54"/>
                  </a:lnTo>
                  <a:lnTo>
                    <a:pt x="32" y="44"/>
                  </a:lnTo>
                  <a:lnTo>
                    <a:pt x="28" y="3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8" y="10"/>
                  </a:lnTo>
                  <a:lnTo>
                    <a:pt x="32" y="0"/>
                  </a:lnTo>
                  <a:lnTo>
                    <a:pt x="0" y="0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94"/>
                  </a:lnTo>
                  <a:lnTo>
                    <a:pt x="6" y="102"/>
                  </a:lnTo>
                  <a:lnTo>
                    <a:pt x="12" y="106"/>
                  </a:lnTo>
                  <a:lnTo>
                    <a:pt x="20" y="108"/>
                  </a:lnTo>
                  <a:lnTo>
                    <a:pt x="152" y="108"/>
                  </a:lnTo>
                  <a:lnTo>
                    <a:pt x="152" y="108"/>
                  </a:lnTo>
                  <a:lnTo>
                    <a:pt x="160" y="106"/>
                  </a:lnTo>
                  <a:lnTo>
                    <a:pt x="166" y="102"/>
                  </a:lnTo>
                  <a:lnTo>
                    <a:pt x="170" y="94"/>
                  </a:lnTo>
                  <a:lnTo>
                    <a:pt x="172" y="86"/>
                  </a:lnTo>
                  <a:lnTo>
                    <a:pt x="172" y="0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42" y="10"/>
                  </a:lnTo>
                  <a:lnTo>
                    <a:pt x="144" y="22"/>
                  </a:lnTo>
                  <a:lnTo>
                    <a:pt x="144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b="1" dirty="0"/>
            </a:p>
          </p:txBody>
        </p:sp>
      </p:grpSp>
      <p:sp>
        <p:nvSpPr>
          <p:cNvPr id="27" name="Freeform 185">
            <a:extLst>
              <a:ext uri="{FF2B5EF4-FFF2-40B4-BE49-F238E27FC236}">
                <a16:creationId xmlns:a16="http://schemas.microsoft.com/office/drawing/2014/main" id="{63D686BA-AA1A-44C5-A235-395228571A42}"/>
              </a:ext>
            </a:extLst>
          </p:cNvPr>
          <p:cNvSpPr>
            <a:spLocks noEditPoints="1"/>
          </p:cNvSpPr>
          <p:nvPr/>
        </p:nvSpPr>
        <p:spPr bwMode="auto">
          <a:xfrm>
            <a:off x="7698850" y="5688856"/>
            <a:ext cx="215930" cy="215930"/>
          </a:xfrm>
          <a:custGeom>
            <a:avLst/>
            <a:gdLst>
              <a:gd name="T0" fmla="*/ 177 w 393"/>
              <a:gd name="T1" fmla="*/ 0 h 393"/>
              <a:gd name="T2" fmla="*/ 119 w 393"/>
              <a:gd name="T3" fmla="*/ 16 h 393"/>
              <a:gd name="T4" fmla="*/ 72 w 393"/>
              <a:gd name="T5" fmla="*/ 44 h 393"/>
              <a:gd name="T6" fmla="*/ 34 w 393"/>
              <a:gd name="T7" fmla="*/ 85 h 393"/>
              <a:gd name="T8" fmla="*/ 10 w 393"/>
              <a:gd name="T9" fmla="*/ 137 h 393"/>
              <a:gd name="T10" fmla="*/ 0 w 393"/>
              <a:gd name="T11" fmla="*/ 195 h 393"/>
              <a:gd name="T12" fmla="*/ 4 w 393"/>
              <a:gd name="T13" fmla="*/ 235 h 393"/>
              <a:gd name="T14" fmla="*/ 24 w 393"/>
              <a:gd name="T15" fmla="*/ 289 h 393"/>
              <a:gd name="T16" fmla="*/ 58 w 393"/>
              <a:gd name="T17" fmla="*/ 335 h 393"/>
              <a:gd name="T18" fmla="*/ 103 w 393"/>
              <a:gd name="T19" fmla="*/ 369 h 393"/>
              <a:gd name="T20" fmla="*/ 157 w 393"/>
              <a:gd name="T21" fmla="*/ 389 h 393"/>
              <a:gd name="T22" fmla="*/ 197 w 393"/>
              <a:gd name="T23" fmla="*/ 393 h 393"/>
              <a:gd name="T24" fmla="*/ 255 w 393"/>
              <a:gd name="T25" fmla="*/ 385 h 393"/>
              <a:gd name="T26" fmla="*/ 307 w 393"/>
              <a:gd name="T27" fmla="*/ 359 h 393"/>
              <a:gd name="T28" fmla="*/ 349 w 393"/>
              <a:gd name="T29" fmla="*/ 321 h 393"/>
              <a:gd name="T30" fmla="*/ 379 w 393"/>
              <a:gd name="T31" fmla="*/ 273 h 393"/>
              <a:gd name="T32" fmla="*/ 393 w 393"/>
              <a:gd name="T33" fmla="*/ 217 h 393"/>
              <a:gd name="T34" fmla="*/ 393 w 393"/>
              <a:gd name="T35" fmla="*/ 175 h 393"/>
              <a:gd name="T36" fmla="*/ 379 w 393"/>
              <a:gd name="T37" fmla="*/ 119 h 393"/>
              <a:gd name="T38" fmla="*/ 349 w 393"/>
              <a:gd name="T39" fmla="*/ 71 h 393"/>
              <a:gd name="T40" fmla="*/ 307 w 393"/>
              <a:gd name="T41" fmla="*/ 34 h 393"/>
              <a:gd name="T42" fmla="*/ 255 w 393"/>
              <a:gd name="T43" fmla="*/ 8 h 393"/>
              <a:gd name="T44" fmla="*/ 197 w 393"/>
              <a:gd name="T45" fmla="*/ 0 h 393"/>
              <a:gd name="T46" fmla="*/ 295 w 393"/>
              <a:gd name="T47" fmla="*/ 157 h 393"/>
              <a:gd name="T48" fmla="*/ 293 w 393"/>
              <a:gd name="T49" fmla="*/ 187 h 393"/>
              <a:gd name="T50" fmla="*/ 269 w 393"/>
              <a:gd name="T51" fmla="*/ 247 h 393"/>
              <a:gd name="T52" fmla="*/ 239 w 393"/>
              <a:gd name="T53" fmla="*/ 277 h 393"/>
              <a:gd name="T54" fmla="*/ 201 w 393"/>
              <a:gd name="T55" fmla="*/ 297 h 393"/>
              <a:gd name="T56" fmla="*/ 155 w 393"/>
              <a:gd name="T57" fmla="*/ 303 h 393"/>
              <a:gd name="T58" fmla="*/ 115 w 393"/>
              <a:gd name="T59" fmla="*/ 297 h 393"/>
              <a:gd name="T60" fmla="*/ 80 w 393"/>
              <a:gd name="T61" fmla="*/ 281 h 393"/>
              <a:gd name="T62" fmla="*/ 107 w 393"/>
              <a:gd name="T63" fmla="*/ 281 h 393"/>
              <a:gd name="T64" fmla="*/ 153 w 393"/>
              <a:gd name="T65" fmla="*/ 261 h 393"/>
              <a:gd name="T66" fmla="*/ 137 w 393"/>
              <a:gd name="T67" fmla="*/ 259 h 393"/>
              <a:gd name="T68" fmla="*/ 109 w 393"/>
              <a:gd name="T69" fmla="*/ 233 h 393"/>
              <a:gd name="T70" fmla="*/ 115 w 393"/>
              <a:gd name="T71" fmla="*/ 227 h 393"/>
              <a:gd name="T72" fmla="*/ 129 w 393"/>
              <a:gd name="T73" fmla="*/ 225 h 393"/>
              <a:gd name="T74" fmla="*/ 105 w 393"/>
              <a:gd name="T75" fmla="*/ 215 h 393"/>
              <a:gd name="T76" fmla="*/ 92 w 393"/>
              <a:gd name="T77" fmla="*/ 195 h 393"/>
              <a:gd name="T78" fmla="*/ 90 w 393"/>
              <a:gd name="T79" fmla="*/ 177 h 393"/>
              <a:gd name="T80" fmla="*/ 99 w 393"/>
              <a:gd name="T81" fmla="*/ 181 h 393"/>
              <a:gd name="T82" fmla="*/ 101 w 393"/>
              <a:gd name="T83" fmla="*/ 175 h 393"/>
              <a:gd name="T84" fmla="*/ 90 w 393"/>
              <a:gd name="T85" fmla="*/ 141 h 393"/>
              <a:gd name="T86" fmla="*/ 95 w 393"/>
              <a:gd name="T87" fmla="*/ 117 h 393"/>
              <a:gd name="T88" fmla="*/ 115 w 393"/>
              <a:gd name="T89" fmla="*/ 137 h 393"/>
              <a:gd name="T90" fmla="*/ 153 w 393"/>
              <a:gd name="T91" fmla="*/ 159 h 393"/>
              <a:gd name="T92" fmla="*/ 197 w 393"/>
              <a:gd name="T93" fmla="*/ 169 h 393"/>
              <a:gd name="T94" fmla="*/ 197 w 393"/>
              <a:gd name="T95" fmla="*/ 157 h 393"/>
              <a:gd name="T96" fmla="*/ 205 w 393"/>
              <a:gd name="T97" fmla="*/ 129 h 393"/>
              <a:gd name="T98" fmla="*/ 227 w 393"/>
              <a:gd name="T99" fmla="*/ 111 h 393"/>
              <a:gd name="T100" fmla="*/ 247 w 393"/>
              <a:gd name="T101" fmla="*/ 107 h 393"/>
              <a:gd name="T102" fmla="*/ 275 w 393"/>
              <a:gd name="T103" fmla="*/ 117 h 393"/>
              <a:gd name="T104" fmla="*/ 299 w 393"/>
              <a:gd name="T105" fmla="*/ 119 h 393"/>
              <a:gd name="T106" fmla="*/ 311 w 393"/>
              <a:gd name="T107" fmla="*/ 119 h 393"/>
              <a:gd name="T108" fmla="*/ 293 w 393"/>
              <a:gd name="T109" fmla="*/ 139 h 393"/>
              <a:gd name="T110" fmla="*/ 321 w 393"/>
              <a:gd name="T111" fmla="*/ 131 h 393"/>
              <a:gd name="T112" fmla="*/ 295 w 393"/>
              <a:gd name="T113" fmla="*/ 157 h 3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93" h="393">
                <a:moveTo>
                  <a:pt x="197" y="0"/>
                </a:moveTo>
                <a:lnTo>
                  <a:pt x="197" y="0"/>
                </a:lnTo>
                <a:lnTo>
                  <a:pt x="177" y="0"/>
                </a:lnTo>
                <a:lnTo>
                  <a:pt x="157" y="4"/>
                </a:lnTo>
                <a:lnTo>
                  <a:pt x="139" y="8"/>
                </a:lnTo>
                <a:lnTo>
                  <a:pt x="119" y="16"/>
                </a:lnTo>
                <a:lnTo>
                  <a:pt x="103" y="24"/>
                </a:lnTo>
                <a:lnTo>
                  <a:pt x="88" y="34"/>
                </a:lnTo>
                <a:lnTo>
                  <a:pt x="72" y="44"/>
                </a:lnTo>
                <a:lnTo>
                  <a:pt x="58" y="57"/>
                </a:lnTo>
                <a:lnTo>
                  <a:pt x="46" y="71"/>
                </a:lnTo>
                <a:lnTo>
                  <a:pt x="34" y="85"/>
                </a:lnTo>
                <a:lnTo>
                  <a:pt x="24" y="101"/>
                </a:lnTo>
                <a:lnTo>
                  <a:pt x="16" y="119"/>
                </a:lnTo>
                <a:lnTo>
                  <a:pt x="10" y="137"/>
                </a:lnTo>
                <a:lnTo>
                  <a:pt x="4" y="157"/>
                </a:lnTo>
                <a:lnTo>
                  <a:pt x="2" y="175"/>
                </a:lnTo>
                <a:lnTo>
                  <a:pt x="0" y="195"/>
                </a:lnTo>
                <a:lnTo>
                  <a:pt x="0" y="195"/>
                </a:lnTo>
                <a:lnTo>
                  <a:pt x="2" y="217"/>
                </a:lnTo>
                <a:lnTo>
                  <a:pt x="4" y="235"/>
                </a:lnTo>
                <a:lnTo>
                  <a:pt x="10" y="255"/>
                </a:lnTo>
                <a:lnTo>
                  <a:pt x="16" y="273"/>
                </a:lnTo>
                <a:lnTo>
                  <a:pt x="24" y="289"/>
                </a:lnTo>
                <a:lnTo>
                  <a:pt x="34" y="307"/>
                </a:lnTo>
                <a:lnTo>
                  <a:pt x="46" y="321"/>
                </a:lnTo>
                <a:lnTo>
                  <a:pt x="58" y="335"/>
                </a:lnTo>
                <a:lnTo>
                  <a:pt x="72" y="347"/>
                </a:lnTo>
                <a:lnTo>
                  <a:pt x="88" y="359"/>
                </a:lnTo>
                <a:lnTo>
                  <a:pt x="103" y="369"/>
                </a:lnTo>
                <a:lnTo>
                  <a:pt x="119" y="377"/>
                </a:lnTo>
                <a:lnTo>
                  <a:pt x="139" y="385"/>
                </a:lnTo>
                <a:lnTo>
                  <a:pt x="157" y="389"/>
                </a:lnTo>
                <a:lnTo>
                  <a:pt x="177" y="391"/>
                </a:lnTo>
                <a:lnTo>
                  <a:pt x="197" y="393"/>
                </a:lnTo>
                <a:lnTo>
                  <a:pt x="197" y="393"/>
                </a:lnTo>
                <a:lnTo>
                  <a:pt x="217" y="391"/>
                </a:lnTo>
                <a:lnTo>
                  <a:pt x="237" y="389"/>
                </a:lnTo>
                <a:lnTo>
                  <a:pt x="255" y="385"/>
                </a:lnTo>
                <a:lnTo>
                  <a:pt x="273" y="377"/>
                </a:lnTo>
                <a:lnTo>
                  <a:pt x="291" y="369"/>
                </a:lnTo>
                <a:lnTo>
                  <a:pt x="307" y="359"/>
                </a:lnTo>
                <a:lnTo>
                  <a:pt x="321" y="347"/>
                </a:lnTo>
                <a:lnTo>
                  <a:pt x="335" y="335"/>
                </a:lnTo>
                <a:lnTo>
                  <a:pt x="349" y="321"/>
                </a:lnTo>
                <a:lnTo>
                  <a:pt x="359" y="307"/>
                </a:lnTo>
                <a:lnTo>
                  <a:pt x="369" y="289"/>
                </a:lnTo>
                <a:lnTo>
                  <a:pt x="379" y="273"/>
                </a:lnTo>
                <a:lnTo>
                  <a:pt x="385" y="255"/>
                </a:lnTo>
                <a:lnTo>
                  <a:pt x="389" y="235"/>
                </a:lnTo>
                <a:lnTo>
                  <a:pt x="393" y="217"/>
                </a:lnTo>
                <a:lnTo>
                  <a:pt x="393" y="195"/>
                </a:lnTo>
                <a:lnTo>
                  <a:pt x="393" y="195"/>
                </a:lnTo>
                <a:lnTo>
                  <a:pt x="393" y="175"/>
                </a:lnTo>
                <a:lnTo>
                  <a:pt x="389" y="157"/>
                </a:lnTo>
                <a:lnTo>
                  <a:pt x="385" y="137"/>
                </a:lnTo>
                <a:lnTo>
                  <a:pt x="379" y="119"/>
                </a:lnTo>
                <a:lnTo>
                  <a:pt x="369" y="101"/>
                </a:lnTo>
                <a:lnTo>
                  <a:pt x="359" y="85"/>
                </a:lnTo>
                <a:lnTo>
                  <a:pt x="349" y="71"/>
                </a:lnTo>
                <a:lnTo>
                  <a:pt x="335" y="57"/>
                </a:lnTo>
                <a:lnTo>
                  <a:pt x="321" y="44"/>
                </a:lnTo>
                <a:lnTo>
                  <a:pt x="307" y="34"/>
                </a:lnTo>
                <a:lnTo>
                  <a:pt x="291" y="24"/>
                </a:lnTo>
                <a:lnTo>
                  <a:pt x="273" y="16"/>
                </a:lnTo>
                <a:lnTo>
                  <a:pt x="255" y="8"/>
                </a:lnTo>
                <a:lnTo>
                  <a:pt x="237" y="4"/>
                </a:lnTo>
                <a:lnTo>
                  <a:pt x="217" y="0"/>
                </a:lnTo>
                <a:lnTo>
                  <a:pt x="197" y="0"/>
                </a:lnTo>
                <a:lnTo>
                  <a:pt x="197" y="0"/>
                </a:lnTo>
                <a:close/>
                <a:moveTo>
                  <a:pt x="295" y="157"/>
                </a:moveTo>
                <a:lnTo>
                  <a:pt x="295" y="157"/>
                </a:lnTo>
                <a:lnTo>
                  <a:pt x="295" y="163"/>
                </a:lnTo>
                <a:lnTo>
                  <a:pt x="295" y="163"/>
                </a:lnTo>
                <a:lnTo>
                  <a:pt x="293" y="187"/>
                </a:lnTo>
                <a:lnTo>
                  <a:pt x="287" y="213"/>
                </a:lnTo>
                <a:lnTo>
                  <a:pt x="275" y="237"/>
                </a:lnTo>
                <a:lnTo>
                  <a:pt x="269" y="247"/>
                </a:lnTo>
                <a:lnTo>
                  <a:pt x="259" y="257"/>
                </a:lnTo>
                <a:lnTo>
                  <a:pt x="251" y="267"/>
                </a:lnTo>
                <a:lnTo>
                  <a:pt x="239" y="277"/>
                </a:lnTo>
                <a:lnTo>
                  <a:pt x="227" y="285"/>
                </a:lnTo>
                <a:lnTo>
                  <a:pt x="215" y="291"/>
                </a:lnTo>
                <a:lnTo>
                  <a:pt x="201" y="297"/>
                </a:lnTo>
                <a:lnTo>
                  <a:pt x="187" y="301"/>
                </a:lnTo>
                <a:lnTo>
                  <a:pt x="171" y="303"/>
                </a:lnTo>
                <a:lnTo>
                  <a:pt x="155" y="303"/>
                </a:lnTo>
                <a:lnTo>
                  <a:pt x="155" y="303"/>
                </a:lnTo>
                <a:lnTo>
                  <a:pt x="135" y="303"/>
                </a:lnTo>
                <a:lnTo>
                  <a:pt x="115" y="297"/>
                </a:lnTo>
                <a:lnTo>
                  <a:pt x="95" y="291"/>
                </a:lnTo>
                <a:lnTo>
                  <a:pt x="80" y="281"/>
                </a:lnTo>
                <a:lnTo>
                  <a:pt x="80" y="281"/>
                </a:lnTo>
                <a:lnTo>
                  <a:pt x="92" y="283"/>
                </a:lnTo>
                <a:lnTo>
                  <a:pt x="92" y="283"/>
                </a:lnTo>
                <a:lnTo>
                  <a:pt x="107" y="281"/>
                </a:lnTo>
                <a:lnTo>
                  <a:pt x="123" y="277"/>
                </a:lnTo>
                <a:lnTo>
                  <a:pt x="139" y="269"/>
                </a:lnTo>
                <a:lnTo>
                  <a:pt x="153" y="261"/>
                </a:lnTo>
                <a:lnTo>
                  <a:pt x="153" y="261"/>
                </a:lnTo>
                <a:lnTo>
                  <a:pt x="145" y="261"/>
                </a:lnTo>
                <a:lnTo>
                  <a:pt x="137" y="259"/>
                </a:lnTo>
                <a:lnTo>
                  <a:pt x="123" y="251"/>
                </a:lnTo>
                <a:lnTo>
                  <a:pt x="113" y="241"/>
                </a:lnTo>
                <a:lnTo>
                  <a:pt x="109" y="233"/>
                </a:lnTo>
                <a:lnTo>
                  <a:pt x="105" y="227"/>
                </a:lnTo>
                <a:lnTo>
                  <a:pt x="105" y="227"/>
                </a:lnTo>
                <a:lnTo>
                  <a:pt x="115" y="227"/>
                </a:lnTo>
                <a:lnTo>
                  <a:pt x="115" y="227"/>
                </a:lnTo>
                <a:lnTo>
                  <a:pt x="129" y="225"/>
                </a:lnTo>
                <a:lnTo>
                  <a:pt x="129" y="225"/>
                </a:lnTo>
                <a:lnTo>
                  <a:pt x="119" y="223"/>
                </a:lnTo>
                <a:lnTo>
                  <a:pt x="113" y="219"/>
                </a:lnTo>
                <a:lnTo>
                  <a:pt x="105" y="215"/>
                </a:lnTo>
                <a:lnTo>
                  <a:pt x="99" y="209"/>
                </a:lnTo>
                <a:lnTo>
                  <a:pt x="95" y="201"/>
                </a:lnTo>
                <a:lnTo>
                  <a:pt x="92" y="195"/>
                </a:lnTo>
                <a:lnTo>
                  <a:pt x="90" y="185"/>
                </a:lnTo>
                <a:lnTo>
                  <a:pt x="90" y="177"/>
                </a:lnTo>
                <a:lnTo>
                  <a:pt x="90" y="177"/>
                </a:lnTo>
                <a:lnTo>
                  <a:pt x="90" y="177"/>
                </a:lnTo>
                <a:lnTo>
                  <a:pt x="90" y="177"/>
                </a:lnTo>
                <a:lnTo>
                  <a:pt x="99" y="181"/>
                </a:lnTo>
                <a:lnTo>
                  <a:pt x="111" y="183"/>
                </a:lnTo>
                <a:lnTo>
                  <a:pt x="111" y="183"/>
                </a:lnTo>
                <a:lnTo>
                  <a:pt x="101" y="175"/>
                </a:lnTo>
                <a:lnTo>
                  <a:pt x="95" y="165"/>
                </a:lnTo>
                <a:lnTo>
                  <a:pt x="92" y="153"/>
                </a:lnTo>
                <a:lnTo>
                  <a:pt x="90" y="141"/>
                </a:lnTo>
                <a:lnTo>
                  <a:pt x="90" y="141"/>
                </a:lnTo>
                <a:lnTo>
                  <a:pt x="92" y="129"/>
                </a:lnTo>
                <a:lnTo>
                  <a:pt x="95" y="117"/>
                </a:lnTo>
                <a:lnTo>
                  <a:pt x="95" y="117"/>
                </a:lnTo>
                <a:lnTo>
                  <a:pt x="105" y="127"/>
                </a:lnTo>
                <a:lnTo>
                  <a:pt x="115" y="137"/>
                </a:lnTo>
                <a:lnTo>
                  <a:pt x="127" y="145"/>
                </a:lnTo>
                <a:lnTo>
                  <a:pt x="141" y="153"/>
                </a:lnTo>
                <a:lnTo>
                  <a:pt x="153" y="159"/>
                </a:lnTo>
                <a:lnTo>
                  <a:pt x="167" y="163"/>
                </a:lnTo>
                <a:lnTo>
                  <a:pt x="183" y="167"/>
                </a:lnTo>
                <a:lnTo>
                  <a:pt x="197" y="169"/>
                </a:lnTo>
                <a:lnTo>
                  <a:pt x="197" y="169"/>
                </a:lnTo>
                <a:lnTo>
                  <a:pt x="197" y="157"/>
                </a:lnTo>
                <a:lnTo>
                  <a:pt x="197" y="157"/>
                </a:lnTo>
                <a:lnTo>
                  <a:pt x="197" y="147"/>
                </a:lnTo>
                <a:lnTo>
                  <a:pt x="201" y="137"/>
                </a:lnTo>
                <a:lnTo>
                  <a:pt x="205" y="129"/>
                </a:lnTo>
                <a:lnTo>
                  <a:pt x="211" y="121"/>
                </a:lnTo>
                <a:lnTo>
                  <a:pt x="219" y="115"/>
                </a:lnTo>
                <a:lnTo>
                  <a:pt x="227" y="111"/>
                </a:lnTo>
                <a:lnTo>
                  <a:pt x="237" y="109"/>
                </a:lnTo>
                <a:lnTo>
                  <a:pt x="247" y="107"/>
                </a:lnTo>
                <a:lnTo>
                  <a:pt x="247" y="107"/>
                </a:lnTo>
                <a:lnTo>
                  <a:pt x="257" y="109"/>
                </a:lnTo>
                <a:lnTo>
                  <a:pt x="267" y="111"/>
                </a:lnTo>
                <a:lnTo>
                  <a:pt x="275" y="117"/>
                </a:lnTo>
                <a:lnTo>
                  <a:pt x="283" y="123"/>
                </a:lnTo>
                <a:lnTo>
                  <a:pt x="283" y="123"/>
                </a:lnTo>
                <a:lnTo>
                  <a:pt x="299" y="119"/>
                </a:lnTo>
                <a:lnTo>
                  <a:pt x="313" y="111"/>
                </a:lnTo>
                <a:lnTo>
                  <a:pt x="313" y="111"/>
                </a:lnTo>
                <a:lnTo>
                  <a:pt x="311" y="119"/>
                </a:lnTo>
                <a:lnTo>
                  <a:pt x="305" y="127"/>
                </a:lnTo>
                <a:lnTo>
                  <a:pt x="299" y="133"/>
                </a:lnTo>
                <a:lnTo>
                  <a:pt x="293" y="139"/>
                </a:lnTo>
                <a:lnTo>
                  <a:pt x="293" y="139"/>
                </a:lnTo>
                <a:lnTo>
                  <a:pt x="307" y="135"/>
                </a:lnTo>
                <a:lnTo>
                  <a:pt x="321" y="131"/>
                </a:lnTo>
                <a:lnTo>
                  <a:pt x="321" y="131"/>
                </a:lnTo>
                <a:lnTo>
                  <a:pt x="309" y="145"/>
                </a:lnTo>
                <a:lnTo>
                  <a:pt x="295" y="157"/>
                </a:lnTo>
                <a:lnTo>
                  <a:pt x="295" y="157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b="1" dirty="0"/>
          </a:p>
        </p:txBody>
      </p:sp>
      <p:sp>
        <p:nvSpPr>
          <p:cNvPr id="28" name="Freeform 36">
            <a:extLst>
              <a:ext uri="{FF2B5EF4-FFF2-40B4-BE49-F238E27FC236}">
                <a16:creationId xmlns:a16="http://schemas.microsoft.com/office/drawing/2014/main" id="{E70B0002-0ED1-48C2-8983-44358C46C58B}"/>
              </a:ext>
            </a:extLst>
          </p:cNvPr>
          <p:cNvSpPr/>
          <p:nvPr/>
        </p:nvSpPr>
        <p:spPr>
          <a:xfrm>
            <a:off x="9506341" y="5280408"/>
            <a:ext cx="229289" cy="229289"/>
          </a:xfrm>
          <a:custGeom>
            <a:avLst/>
            <a:gdLst>
              <a:gd name="connsiteX0" fmla="*/ 94021 w 288000"/>
              <a:gd name="connsiteY0" fmla="*/ 62164 h 288000"/>
              <a:gd name="connsiteX1" fmla="*/ 92152 w 288000"/>
              <a:gd name="connsiteY1" fmla="*/ 62352 h 288000"/>
              <a:gd name="connsiteX2" fmla="*/ 90097 w 288000"/>
              <a:gd name="connsiteY2" fmla="*/ 62540 h 288000"/>
              <a:gd name="connsiteX3" fmla="*/ 88416 w 288000"/>
              <a:gd name="connsiteY3" fmla="*/ 63103 h 288000"/>
              <a:gd name="connsiteX4" fmla="*/ 86547 w 288000"/>
              <a:gd name="connsiteY4" fmla="*/ 63854 h 288000"/>
              <a:gd name="connsiteX5" fmla="*/ 84866 w 288000"/>
              <a:gd name="connsiteY5" fmla="*/ 64604 h 288000"/>
              <a:gd name="connsiteX6" fmla="*/ 83371 w 288000"/>
              <a:gd name="connsiteY6" fmla="*/ 65355 h 288000"/>
              <a:gd name="connsiteX7" fmla="*/ 81690 w 288000"/>
              <a:gd name="connsiteY7" fmla="*/ 66669 h 288000"/>
              <a:gd name="connsiteX8" fmla="*/ 80382 w 288000"/>
              <a:gd name="connsiteY8" fmla="*/ 67983 h 288000"/>
              <a:gd name="connsiteX9" fmla="*/ 70666 w 288000"/>
              <a:gd name="connsiteY9" fmla="*/ 77555 h 288000"/>
              <a:gd name="connsiteX10" fmla="*/ 69171 w 288000"/>
              <a:gd name="connsiteY10" fmla="*/ 79245 h 288000"/>
              <a:gd name="connsiteX11" fmla="*/ 67677 w 288000"/>
              <a:gd name="connsiteY11" fmla="*/ 81309 h 288000"/>
              <a:gd name="connsiteX12" fmla="*/ 66369 w 288000"/>
              <a:gd name="connsiteY12" fmla="*/ 83374 h 288000"/>
              <a:gd name="connsiteX13" fmla="*/ 65248 w 288000"/>
              <a:gd name="connsiteY13" fmla="*/ 85439 h 288000"/>
              <a:gd name="connsiteX14" fmla="*/ 64314 w 288000"/>
              <a:gd name="connsiteY14" fmla="*/ 87503 h 288000"/>
              <a:gd name="connsiteX15" fmla="*/ 63753 w 288000"/>
              <a:gd name="connsiteY15" fmla="*/ 89756 h 288000"/>
              <a:gd name="connsiteX16" fmla="*/ 63193 w 288000"/>
              <a:gd name="connsiteY16" fmla="*/ 92196 h 288000"/>
              <a:gd name="connsiteX17" fmla="*/ 62819 w 288000"/>
              <a:gd name="connsiteY17" fmla="*/ 94448 h 288000"/>
              <a:gd name="connsiteX18" fmla="*/ 62632 w 288000"/>
              <a:gd name="connsiteY18" fmla="*/ 96888 h 288000"/>
              <a:gd name="connsiteX19" fmla="*/ 62632 w 288000"/>
              <a:gd name="connsiteY19" fmla="*/ 99141 h 288000"/>
              <a:gd name="connsiteX20" fmla="*/ 63193 w 288000"/>
              <a:gd name="connsiteY20" fmla="*/ 101393 h 288000"/>
              <a:gd name="connsiteX21" fmla="*/ 63566 w 288000"/>
              <a:gd name="connsiteY21" fmla="*/ 103645 h 288000"/>
              <a:gd name="connsiteX22" fmla="*/ 64127 w 288000"/>
              <a:gd name="connsiteY22" fmla="*/ 106085 h 288000"/>
              <a:gd name="connsiteX23" fmla="*/ 64874 w 288000"/>
              <a:gd name="connsiteY23" fmla="*/ 108338 h 288000"/>
              <a:gd name="connsiteX24" fmla="*/ 66182 w 288000"/>
              <a:gd name="connsiteY24" fmla="*/ 110402 h 288000"/>
              <a:gd name="connsiteX25" fmla="*/ 67303 w 288000"/>
              <a:gd name="connsiteY25" fmla="*/ 112467 h 288000"/>
              <a:gd name="connsiteX26" fmla="*/ 72721 w 288000"/>
              <a:gd name="connsiteY26" fmla="*/ 120350 h 288000"/>
              <a:gd name="connsiteX27" fmla="*/ 78326 w 288000"/>
              <a:gd name="connsiteY27" fmla="*/ 128234 h 288000"/>
              <a:gd name="connsiteX28" fmla="*/ 84118 w 288000"/>
              <a:gd name="connsiteY28" fmla="*/ 136117 h 288000"/>
              <a:gd name="connsiteX29" fmla="*/ 90097 w 288000"/>
              <a:gd name="connsiteY29" fmla="*/ 143625 h 288000"/>
              <a:gd name="connsiteX30" fmla="*/ 96450 w 288000"/>
              <a:gd name="connsiteY30" fmla="*/ 150945 h 288000"/>
              <a:gd name="connsiteX31" fmla="*/ 102615 w 288000"/>
              <a:gd name="connsiteY31" fmla="*/ 158265 h 288000"/>
              <a:gd name="connsiteX32" fmla="*/ 109155 w 288000"/>
              <a:gd name="connsiteY32" fmla="*/ 165210 h 288000"/>
              <a:gd name="connsiteX33" fmla="*/ 116068 w 288000"/>
              <a:gd name="connsiteY33" fmla="*/ 172343 h 288000"/>
              <a:gd name="connsiteX34" fmla="*/ 122794 w 288000"/>
              <a:gd name="connsiteY34" fmla="*/ 179100 h 288000"/>
              <a:gd name="connsiteX35" fmla="*/ 130081 w 288000"/>
              <a:gd name="connsiteY35" fmla="*/ 185669 h 288000"/>
              <a:gd name="connsiteX36" fmla="*/ 137180 w 288000"/>
              <a:gd name="connsiteY36" fmla="*/ 192051 h 288000"/>
              <a:gd name="connsiteX37" fmla="*/ 144654 w 288000"/>
              <a:gd name="connsiteY37" fmla="*/ 198245 h 288000"/>
              <a:gd name="connsiteX38" fmla="*/ 152127 w 288000"/>
              <a:gd name="connsiteY38" fmla="*/ 204251 h 288000"/>
              <a:gd name="connsiteX39" fmla="*/ 159601 w 288000"/>
              <a:gd name="connsiteY39" fmla="*/ 210257 h 288000"/>
              <a:gd name="connsiteX40" fmla="*/ 167448 w 288000"/>
              <a:gd name="connsiteY40" fmla="*/ 215888 h 288000"/>
              <a:gd name="connsiteX41" fmla="*/ 175482 w 288000"/>
              <a:gd name="connsiteY41" fmla="*/ 221332 h 288000"/>
              <a:gd name="connsiteX42" fmla="*/ 177351 w 288000"/>
              <a:gd name="connsiteY42" fmla="*/ 222270 h 288000"/>
              <a:gd name="connsiteX43" fmla="*/ 178845 w 288000"/>
              <a:gd name="connsiteY43" fmla="*/ 223208 h 288000"/>
              <a:gd name="connsiteX44" fmla="*/ 180901 w 288000"/>
              <a:gd name="connsiteY44" fmla="*/ 224147 h 288000"/>
              <a:gd name="connsiteX45" fmla="*/ 182769 w 288000"/>
              <a:gd name="connsiteY45" fmla="*/ 224710 h 288000"/>
              <a:gd name="connsiteX46" fmla="*/ 184824 w 288000"/>
              <a:gd name="connsiteY46" fmla="*/ 225085 h 288000"/>
              <a:gd name="connsiteX47" fmla="*/ 186693 w 288000"/>
              <a:gd name="connsiteY47" fmla="*/ 225461 h 288000"/>
              <a:gd name="connsiteX48" fmla="*/ 188748 w 288000"/>
              <a:gd name="connsiteY48" fmla="*/ 225649 h 288000"/>
              <a:gd name="connsiteX49" fmla="*/ 190803 w 288000"/>
              <a:gd name="connsiteY49" fmla="*/ 225836 h 288000"/>
              <a:gd name="connsiteX50" fmla="*/ 193606 w 288000"/>
              <a:gd name="connsiteY50" fmla="*/ 225649 h 288000"/>
              <a:gd name="connsiteX51" fmla="*/ 196221 w 288000"/>
              <a:gd name="connsiteY51" fmla="*/ 225273 h 288000"/>
              <a:gd name="connsiteX52" fmla="*/ 198837 w 288000"/>
              <a:gd name="connsiteY52" fmla="*/ 224710 h 288000"/>
              <a:gd name="connsiteX53" fmla="*/ 201453 w 288000"/>
              <a:gd name="connsiteY53" fmla="*/ 223584 h 288000"/>
              <a:gd name="connsiteX54" fmla="*/ 203695 w 288000"/>
              <a:gd name="connsiteY54" fmla="*/ 222645 h 288000"/>
              <a:gd name="connsiteX55" fmla="*/ 205937 w 288000"/>
              <a:gd name="connsiteY55" fmla="*/ 221332 h 288000"/>
              <a:gd name="connsiteX56" fmla="*/ 208179 w 288000"/>
              <a:gd name="connsiteY56" fmla="*/ 219642 h 288000"/>
              <a:gd name="connsiteX57" fmla="*/ 210234 w 288000"/>
              <a:gd name="connsiteY57" fmla="*/ 217765 h 288000"/>
              <a:gd name="connsiteX58" fmla="*/ 219763 w 288000"/>
              <a:gd name="connsiteY58" fmla="*/ 208005 h 288000"/>
              <a:gd name="connsiteX59" fmla="*/ 221258 w 288000"/>
              <a:gd name="connsiteY59" fmla="*/ 206503 h 288000"/>
              <a:gd name="connsiteX60" fmla="*/ 222192 w 288000"/>
              <a:gd name="connsiteY60" fmla="*/ 205002 h 288000"/>
              <a:gd name="connsiteX61" fmla="*/ 223126 w 288000"/>
              <a:gd name="connsiteY61" fmla="*/ 203313 h 288000"/>
              <a:gd name="connsiteX62" fmla="*/ 224060 w 288000"/>
              <a:gd name="connsiteY62" fmla="*/ 201811 h 288000"/>
              <a:gd name="connsiteX63" fmla="*/ 224621 w 288000"/>
              <a:gd name="connsiteY63" fmla="*/ 199934 h 288000"/>
              <a:gd name="connsiteX64" fmla="*/ 225181 w 288000"/>
              <a:gd name="connsiteY64" fmla="*/ 198057 h 288000"/>
              <a:gd name="connsiteX65" fmla="*/ 225368 w 288000"/>
              <a:gd name="connsiteY65" fmla="*/ 196368 h 288000"/>
              <a:gd name="connsiteX66" fmla="*/ 225368 w 288000"/>
              <a:gd name="connsiteY66" fmla="*/ 194303 h 288000"/>
              <a:gd name="connsiteX67" fmla="*/ 225368 w 288000"/>
              <a:gd name="connsiteY67" fmla="*/ 192426 h 288000"/>
              <a:gd name="connsiteX68" fmla="*/ 225181 w 288000"/>
              <a:gd name="connsiteY68" fmla="*/ 190737 h 288000"/>
              <a:gd name="connsiteX69" fmla="*/ 224621 w 288000"/>
              <a:gd name="connsiteY69" fmla="*/ 188860 h 288000"/>
              <a:gd name="connsiteX70" fmla="*/ 224060 w 288000"/>
              <a:gd name="connsiteY70" fmla="*/ 186983 h 288000"/>
              <a:gd name="connsiteX71" fmla="*/ 223126 w 288000"/>
              <a:gd name="connsiteY71" fmla="*/ 185294 h 288000"/>
              <a:gd name="connsiteX72" fmla="*/ 222192 w 288000"/>
              <a:gd name="connsiteY72" fmla="*/ 183604 h 288000"/>
              <a:gd name="connsiteX73" fmla="*/ 221258 w 288000"/>
              <a:gd name="connsiteY73" fmla="*/ 181915 h 288000"/>
              <a:gd name="connsiteX74" fmla="*/ 219763 w 288000"/>
              <a:gd name="connsiteY74" fmla="*/ 180601 h 288000"/>
              <a:gd name="connsiteX75" fmla="*/ 202387 w 288000"/>
              <a:gd name="connsiteY75" fmla="*/ 163145 h 288000"/>
              <a:gd name="connsiteX76" fmla="*/ 200892 w 288000"/>
              <a:gd name="connsiteY76" fmla="*/ 161644 h 288000"/>
              <a:gd name="connsiteX77" fmla="*/ 199398 w 288000"/>
              <a:gd name="connsiteY77" fmla="*/ 160705 h 288000"/>
              <a:gd name="connsiteX78" fmla="*/ 197716 w 288000"/>
              <a:gd name="connsiteY78" fmla="*/ 159579 h 288000"/>
              <a:gd name="connsiteX79" fmla="*/ 196034 w 288000"/>
              <a:gd name="connsiteY79" fmla="*/ 158828 h 288000"/>
              <a:gd name="connsiteX80" fmla="*/ 194353 w 288000"/>
              <a:gd name="connsiteY80" fmla="*/ 158078 h 288000"/>
              <a:gd name="connsiteX81" fmla="*/ 192298 w 288000"/>
              <a:gd name="connsiteY81" fmla="*/ 157702 h 288000"/>
              <a:gd name="connsiteX82" fmla="*/ 190616 w 288000"/>
              <a:gd name="connsiteY82" fmla="*/ 157514 h 288000"/>
              <a:gd name="connsiteX83" fmla="*/ 188561 w 288000"/>
              <a:gd name="connsiteY83" fmla="*/ 157139 h 288000"/>
              <a:gd name="connsiteX84" fmla="*/ 186693 w 288000"/>
              <a:gd name="connsiteY84" fmla="*/ 157514 h 288000"/>
              <a:gd name="connsiteX85" fmla="*/ 184824 w 288000"/>
              <a:gd name="connsiteY85" fmla="*/ 157702 h 288000"/>
              <a:gd name="connsiteX86" fmla="*/ 182956 w 288000"/>
              <a:gd name="connsiteY86" fmla="*/ 158078 h 288000"/>
              <a:gd name="connsiteX87" fmla="*/ 181087 w 288000"/>
              <a:gd name="connsiteY87" fmla="*/ 158828 h 288000"/>
              <a:gd name="connsiteX88" fmla="*/ 179593 w 288000"/>
              <a:gd name="connsiteY88" fmla="*/ 159579 h 288000"/>
              <a:gd name="connsiteX89" fmla="*/ 177911 w 288000"/>
              <a:gd name="connsiteY89" fmla="*/ 160705 h 288000"/>
              <a:gd name="connsiteX90" fmla="*/ 176416 w 288000"/>
              <a:gd name="connsiteY90" fmla="*/ 161644 h 288000"/>
              <a:gd name="connsiteX91" fmla="*/ 174922 w 288000"/>
              <a:gd name="connsiteY91" fmla="*/ 163145 h 288000"/>
              <a:gd name="connsiteX92" fmla="*/ 170998 w 288000"/>
              <a:gd name="connsiteY92" fmla="*/ 167087 h 288000"/>
              <a:gd name="connsiteX93" fmla="*/ 164272 w 288000"/>
              <a:gd name="connsiteY93" fmla="*/ 161456 h 288000"/>
              <a:gd name="connsiteX94" fmla="*/ 157733 w 288000"/>
              <a:gd name="connsiteY94" fmla="*/ 155450 h 288000"/>
              <a:gd name="connsiteX95" fmla="*/ 151193 w 288000"/>
              <a:gd name="connsiteY95" fmla="*/ 149443 h 288000"/>
              <a:gd name="connsiteX96" fmla="*/ 144841 w 288000"/>
              <a:gd name="connsiteY96" fmla="*/ 143062 h 288000"/>
              <a:gd name="connsiteX97" fmla="*/ 138675 w 288000"/>
              <a:gd name="connsiteY97" fmla="*/ 136868 h 288000"/>
              <a:gd name="connsiteX98" fmla="*/ 132696 w 288000"/>
              <a:gd name="connsiteY98" fmla="*/ 130486 h 288000"/>
              <a:gd name="connsiteX99" fmla="*/ 126904 w 288000"/>
              <a:gd name="connsiteY99" fmla="*/ 123729 h 288000"/>
              <a:gd name="connsiteX100" fmla="*/ 121299 w 288000"/>
              <a:gd name="connsiteY100" fmla="*/ 117160 h 288000"/>
              <a:gd name="connsiteX101" fmla="*/ 125223 w 288000"/>
              <a:gd name="connsiteY101" fmla="*/ 113030 h 288000"/>
              <a:gd name="connsiteX102" fmla="*/ 126718 w 288000"/>
              <a:gd name="connsiteY102" fmla="*/ 111529 h 288000"/>
              <a:gd name="connsiteX103" fmla="*/ 127652 w 288000"/>
              <a:gd name="connsiteY103" fmla="*/ 109839 h 288000"/>
              <a:gd name="connsiteX104" fmla="*/ 128586 w 288000"/>
              <a:gd name="connsiteY104" fmla="*/ 108338 h 288000"/>
              <a:gd name="connsiteX105" fmla="*/ 129520 w 288000"/>
              <a:gd name="connsiteY105" fmla="*/ 106648 h 288000"/>
              <a:gd name="connsiteX106" fmla="*/ 130081 w 288000"/>
              <a:gd name="connsiteY106" fmla="*/ 104959 h 288000"/>
              <a:gd name="connsiteX107" fmla="*/ 130641 w 288000"/>
              <a:gd name="connsiteY107" fmla="*/ 103082 h 288000"/>
              <a:gd name="connsiteX108" fmla="*/ 130828 w 288000"/>
              <a:gd name="connsiteY108" fmla="*/ 101018 h 288000"/>
              <a:gd name="connsiteX109" fmla="*/ 130828 w 288000"/>
              <a:gd name="connsiteY109" fmla="*/ 99328 h 288000"/>
              <a:gd name="connsiteX110" fmla="*/ 130828 w 288000"/>
              <a:gd name="connsiteY110" fmla="*/ 97451 h 288000"/>
              <a:gd name="connsiteX111" fmla="*/ 130641 w 288000"/>
              <a:gd name="connsiteY111" fmla="*/ 95574 h 288000"/>
              <a:gd name="connsiteX112" fmla="*/ 130081 w 288000"/>
              <a:gd name="connsiteY112" fmla="*/ 93885 h 288000"/>
              <a:gd name="connsiteX113" fmla="*/ 129520 w 288000"/>
              <a:gd name="connsiteY113" fmla="*/ 92008 h 288000"/>
              <a:gd name="connsiteX114" fmla="*/ 128586 w 288000"/>
              <a:gd name="connsiteY114" fmla="*/ 90131 h 288000"/>
              <a:gd name="connsiteX115" fmla="*/ 127652 w 288000"/>
              <a:gd name="connsiteY115" fmla="*/ 88630 h 288000"/>
              <a:gd name="connsiteX116" fmla="*/ 126718 w 288000"/>
              <a:gd name="connsiteY116" fmla="*/ 86940 h 288000"/>
              <a:gd name="connsiteX117" fmla="*/ 125223 w 288000"/>
              <a:gd name="connsiteY117" fmla="*/ 85626 h 288000"/>
              <a:gd name="connsiteX118" fmla="*/ 107847 w 288000"/>
              <a:gd name="connsiteY118" fmla="*/ 67795 h 288000"/>
              <a:gd name="connsiteX119" fmla="*/ 106165 w 288000"/>
              <a:gd name="connsiteY119" fmla="*/ 66669 h 288000"/>
              <a:gd name="connsiteX120" fmla="*/ 104857 w 288000"/>
              <a:gd name="connsiteY120" fmla="*/ 65355 h 288000"/>
              <a:gd name="connsiteX121" fmla="*/ 103176 w 288000"/>
              <a:gd name="connsiteY121" fmla="*/ 64604 h 288000"/>
              <a:gd name="connsiteX122" fmla="*/ 101308 w 288000"/>
              <a:gd name="connsiteY122" fmla="*/ 63854 h 288000"/>
              <a:gd name="connsiteX123" fmla="*/ 99626 w 288000"/>
              <a:gd name="connsiteY123" fmla="*/ 63103 h 288000"/>
              <a:gd name="connsiteX124" fmla="*/ 97758 w 288000"/>
              <a:gd name="connsiteY124" fmla="*/ 62540 h 288000"/>
              <a:gd name="connsiteX125" fmla="*/ 95889 w 288000"/>
              <a:gd name="connsiteY125" fmla="*/ 62352 h 288000"/>
              <a:gd name="connsiteX126" fmla="*/ 144000 w 288000"/>
              <a:gd name="connsiteY126" fmla="*/ 0 h 288000"/>
              <a:gd name="connsiteX127" fmla="*/ 288000 w 288000"/>
              <a:gd name="connsiteY127" fmla="*/ 144000 h 288000"/>
              <a:gd name="connsiteX128" fmla="*/ 144000 w 288000"/>
              <a:gd name="connsiteY128" fmla="*/ 288000 h 288000"/>
              <a:gd name="connsiteX129" fmla="*/ 0 w 288000"/>
              <a:gd name="connsiteY129" fmla="*/ 144000 h 288000"/>
              <a:gd name="connsiteX130" fmla="*/ 144000 w 288000"/>
              <a:gd name="connsiteY130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288000" h="288000">
                <a:moveTo>
                  <a:pt x="94021" y="62164"/>
                </a:moveTo>
                <a:lnTo>
                  <a:pt x="92152" y="62352"/>
                </a:lnTo>
                <a:lnTo>
                  <a:pt x="90097" y="62540"/>
                </a:lnTo>
                <a:lnTo>
                  <a:pt x="88416" y="63103"/>
                </a:lnTo>
                <a:lnTo>
                  <a:pt x="86547" y="63854"/>
                </a:lnTo>
                <a:lnTo>
                  <a:pt x="84866" y="64604"/>
                </a:lnTo>
                <a:lnTo>
                  <a:pt x="83371" y="65355"/>
                </a:lnTo>
                <a:lnTo>
                  <a:pt x="81690" y="66669"/>
                </a:lnTo>
                <a:lnTo>
                  <a:pt x="80382" y="67983"/>
                </a:lnTo>
                <a:lnTo>
                  <a:pt x="70666" y="77555"/>
                </a:lnTo>
                <a:lnTo>
                  <a:pt x="69171" y="79245"/>
                </a:lnTo>
                <a:lnTo>
                  <a:pt x="67677" y="81309"/>
                </a:lnTo>
                <a:lnTo>
                  <a:pt x="66369" y="83374"/>
                </a:lnTo>
                <a:lnTo>
                  <a:pt x="65248" y="85439"/>
                </a:lnTo>
                <a:lnTo>
                  <a:pt x="64314" y="87503"/>
                </a:lnTo>
                <a:lnTo>
                  <a:pt x="63753" y="89756"/>
                </a:lnTo>
                <a:lnTo>
                  <a:pt x="63193" y="92196"/>
                </a:lnTo>
                <a:lnTo>
                  <a:pt x="62819" y="94448"/>
                </a:lnTo>
                <a:lnTo>
                  <a:pt x="62632" y="96888"/>
                </a:lnTo>
                <a:lnTo>
                  <a:pt x="62632" y="99141"/>
                </a:lnTo>
                <a:lnTo>
                  <a:pt x="63193" y="101393"/>
                </a:lnTo>
                <a:lnTo>
                  <a:pt x="63566" y="103645"/>
                </a:lnTo>
                <a:lnTo>
                  <a:pt x="64127" y="106085"/>
                </a:lnTo>
                <a:lnTo>
                  <a:pt x="64874" y="108338"/>
                </a:lnTo>
                <a:lnTo>
                  <a:pt x="66182" y="110402"/>
                </a:lnTo>
                <a:lnTo>
                  <a:pt x="67303" y="112467"/>
                </a:lnTo>
                <a:lnTo>
                  <a:pt x="72721" y="120350"/>
                </a:lnTo>
                <a:lnTo>
                  <a:pt x="78326" y="128234"/>
                </a:lnTo>
                <a:lnTo>
                  <a:pt x="84118" y="136117"/>
                </a:lnTo>
                <a:lnTo>
                  <a:pt x="90097" y="143625"/>
                </a:lnTo>
                <a:lnTo>
                  <a:pt x="96450" y="150945"/>
                </a:lnTo>
                <a:lnTo>
                  <a:pt x="102615" y="158265"/>
                </a:lnTo>
                <a:lnTo>
                  <a:pt x="109155" y="165210"/>
                </a:lnTo>
                <a:lnTo>
                  <a:pt x="116068" y="172343"/>
                </a:lnTo>
                <a:lnTo>
                  <a:pt x="122794" y="179100"/>
                </a:lnTo>
                <a:lnTo>
                  <a:pt x="130081" y="185669"/>
                </a:lnTo>
                <a:lnTo>
                  <a:pt x="137180" y="192051"/>
                </a:lnTo>
                <a:lnTo>
                  <a:pt x="144654" y="198245"/>
                </a:lnTo>
                <a:lnTo>
                  <a:pt x="152127" y="204251"/>
                </a:lnTo>
                <a:lnTo>
                  <a:pt x="159601" y="210257"/>
                </a:lnTo>
                <a:lnTo>
                  <a:pt x="167448" y="215888"/>
                </a:lnTo>
                <a:lnTo>
                  <a:pt x="175482" y="221332"/>
                </a:lnTo>
                <a:lnTo>
                  <a:pt x="177351" y="222270"/>
                </a:lnTo>
                <a:lnTo>
                  <a:pt x="178845" y="223208"/>
                </a:lnTo>
                <a:lnTo>
                  <a:pt x="180901" y="224147"/>
                </a:lnTo>
                <a:lnTo>
                  <a:pt x="182769" y="224710"/>
                </a:lnTo>
                <a:lnTo>
                  <a:pt x="184824" y="225085"/>
                </a:lnTo>
                <a:lnTo>
                  <a:pt x="186693" y="225461"/>
                </a:lnTo>
                <a:lnTo>
                  <a:pt x="188748" y="225649"/>
                </a:lnTo>
                <a:lnTo>
                  <a:pt x="190803" y="225836"/>
                </a:lnTo>
                <a:lnTo>
                  <a:pt x="193606" y="225649"/>
                </a:lnTo>
                <a:lnTo>
                  <a:pt x="196221" y="225273"/>
                </a:lnTo>
                <a:lnTo>
                  <a:pt x="198837" y="224710"/>
                </a:lnTo>
                <a:lnTo>
                  <a:pt x="201453" y="223584"/>
                </a:lnTo>
                <a:lnTo>
                  <a:pt x="203695" y="222645"/>
                </a:lnTo>
                <a:lnTo>
                  <a:pt x="205937" y="221332"/>
                </a:lnTo>
                <a:lnTo>
                  <a:pt x="208179" y="219642"/>
                </a:lnTo>
                <a:lnTo>
                  <a:pt x="210234" y="217765"/>
                </a:lnTo>
                <a:lnTo>
                  <a:pt x="219763" y="208005"/>
                </a:lnTo>
                <a:lnTo>
                  <a:pt x="221258" y="206503"/>
                </a:lnTo>
                <a:lnTo>
                  <a:pt x="222192" y="205002"/>
                </a:lnTo>
                <a:lnTo>
                  <a:pt x="223126" y="203313"/>
                </a:lnTo>
                <a:lnTo>
                  <a:pt x="224060" y="201811"/>
                </a:lnTo>
                <a:lnTo>
                  <a:pt x="224621" y="199934"/>
                </a:lnTo>
                <a:lnTo>
                  <a:pt x="225181" y="198057"/>
                </a:lnTo>
                <a:lnTo>
                  <a:pt x="225368" y="196368"/>
                </a:lnTo>
                <a:lnTo>
                  <a:pt x="225368" y="194303"/>
                </a:lnTo>
                <a:lnTo>
                  <a:pt x="225368" y="192426"/>
                </a:lnTo>
                <a:lnTo>
                  <a:pt x="225181" y="190737"/>
                </a:lnTo>
                <a:lnTo>
                  <a:pt x="224621" y="188860"/>
                </a:lnTo>
                <a:lnTo>
                  <a:pt x="224060" y="186983"/>
                </a:lnTo>
                <a:lnTo>
                  <a:pt x="223126" y="185294"/>
                </a:lnTo>
                <a:lnTo>
                  <a:pt x="222192" y="183604"/>
                </a:lnTo>
                <a:lnTo>
                  <a:pt x="221258" y="181915"/>
                </a:lnTo>
                <a:lnTo>
                  <a:pt x="219763" y="180601"/>
                </a:lnTo>
                <a:lnTo>
                  <a:pt x="202387" y="163145"/>
                </a:lnTo>
                <a:lnTo>
                  <a:pt x="200892" y="161644"/>
                </a:lnTo>
                <a:lnTo>
                  <a:pt x="199398" y="160705"/>
                </a:lnTo>
                <a:lnTo>
                  <a:pt x="197716" y="159579"/>
                </a:lnTo>
                <a:lnTo>
                  <a:pt x="196034" y="158828"/>
                </a:lnTo>
                <a:lnTo>
                  <a:pt x="194353" y="158078"/>
                </a:lnTo>
                <a:lnTo>
                  <a:pt x="192298" y="157702"/>
                </a:lnTo>
                <a:lnTo>
                  <a:pt x="190616" y="157514"/>
                </a:lnTo>
                <a:lnTo>
                  <a:pt x="188561" y="157139"/>
                </a:lnTo>
                <a:lnTo>
                  <a:pt x="186693" y="157514"/>
                </a:lnTo>
                <a:lnTo>
                  <a:pt x="184824" y="157702"/>
                </a:lnTo>
                <a:lnTo>
                  <a:pt x="182956" y="158078"/>
                </a:lnTo>
                <a:lnTo>
                  <a:pt x="181087" y="158828"/>
                </a:lnTo>
                <a:lnTo>
                  <a:pt x="179593" y="159579"/>
                </a:lnTo>
                <a:lnTo>
                  <a:pt x="177911" y="160705"/>
                </a:lnTo>
                <a:lnTo>
                  <a:pt x="176416" y="161644"/>
                </a:lnTo>
                <a:lnTo>
                  <a:pt x="174922" y="163145"/>
                </a:lnTo>
                <a:lnTo>
                  <a:pt x="170998" y="167087"/>
                </a:lnTo>
                <a:lnTo>
                  <a:pt x="164272" y="161456"/>
                </a:lnTo>
                <a:lnTo>
                  <a:pt x="157733" y="155450"/>
                </a:lnTo>
                <a:lnTo>
                  <a:pt x="151193" y="149443"/>
                </a:lnTo>
                <a:lnTo>
                  <a:pt x="144841" y="143062"/>
                </a:lnTo>
                <a:lnTo>
                  <a:pt x="138675" y="136868"/>
                </a:lnTo>
                <a:lnTo>
                  <a:pt x="132696" y="130486"/>
                </a:lnTo>
                <a:lnTo>
                  <a:pt x="126904" y="123729"/>
                </a:lnTo>
                <a:lnTo>
                  <a:pt x="121299" y="117160"/>
                </a:lnTo>
                <a:lnTo>
                  <a:pt x="125223" y="113030"/>
                </a:lnTo>
                <a:lnTo>
                  <a:pt x="126718" y="111529"/>
                </a:lnTo>
                <a:lnTo>
                  <a:pt x="127652" y="109839"/>
                </a:lnTo>
                <a:lnTo>
                  <a:pt x="128586" y="108338"/>
                </a:lnTo>
                <a:lnTo>
                  <a:pt x="129520" y="106648"/>
                </a:lnTo>
                <a:lnTo>
                  <a:pt x="130081" y="104959"/>
                </a:lnTo>
                <a:lnTo>
                  <a:pt x="130641" y="103082"/>
                </a:lnTo>
                <a:lnTo>
                  <a:pt x="130828" y="101018"/>
                </a:lnTo>
                <a:lnTo>
                  <a:pt x="130828" y="99328"/>
                </a:lnTo>
                <a:lnTo>
                  <a:pt x="130828" y="97451"/>
                </a:lnTo>
                <a:lnTo>
                  <a:pt x="130641" y="95574"/>
                </a:lnTo>
                <a:lnTo>
                  <a:pt x="130081" y="93885"/>
                </a:lnTo>
                <a:lnTo>
                  <a:pt x="129520" y="92008"/>
                </a:lnTo>
                <a:lnTo>
                  <a:pt x="128586" y="90131"/>
                </a:lnTo>
                <a:lnTo>
                  <a:pt x="127652" y="88630"/>
                </a:lnTo>
                <a:lnTo>
                  <a:pt x="126718" y="86940"/>
                </a:lnTo>
                <a:lnTo>
                  <a:pt x="125223" y="85626"/>
                </a:lnTo>
                <a:lnTo>
                  <a:pt x="107847" y="67795"/>
                </a:lnTo>
                <a:lnTo>
                  <a:pt x="106165" y="66669"/>
                </a:lnTo>
                <a:lnTo>
                  <a:pt x="104857" y="65355"/>
                </a:lnTo>
                <a:lnTo>
                  <a:pt x="103176" y="64604"/>
                </a:lnTo>
                <a:lnTo>
                  <a:pt x="101308" y="63854"/>
                </a:lnTo>
                <a:lnTo>
                  <a:pt x="99626" y="63103"/>
                </a:lnTo>
                <a:lnTo>
                  <a:pt x="97758" y="62540"/>
                </a:lnTo>
                <a:lnTo>
                  <a:pt x="95889" y="62352"/>
                </a:lnTo>
                <a:close/>
                <a:moveTo>
                  <a:pt x="144000" y="0"/>
                </a:moveTo>
                <a:cubicBezTo>
                  <a:pt x="223529" y="0"/>
                  <a:pt x="288000" y="64471"/>
                  <a:pt x="288000" y="144000"/>
                </a:cubicBezTo>
                <a:cubicBezTo>
                  <a:pt x="288000" y="223529"/>
                  <a:pt x="223529" y="288000"/>
                  <a:pt x="144000" y="288000"/>
                </a:cubicBezTo>
                <a:cubicBezTo>
                  <a:pt x="64471" y="288000"/>
                  <a:pt x="0" y="223529"/>
                  <a:pt x="0" y="144000"/>
                </a:cubicBezTo>
                <a:cubicBezTo>
                  <a:pt x="0" y="64471"/>
                  <a:pt x="64471" y="0"/>
                  <a:pt x="144000" y="0"/>
                </a:cubicBez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1" dirty="0"/>
          </a:p>
        </p:txBody>
      </p:sp>
      <p:sp>
        <p:nvSpPr>
          <p:cNvPr id="29" name="Freeform 37">
            <a:extLst>
              <a:ext uri="{FF2B5EF4-FFF2-40B4-BE49-F238E27FC236}">
                <a16:creationId xmlns:a16="http://schemas.microsoft.com/office/drawing/2014/main" id="{4480D527-C443-43F4-B480-FD0664D48D0A}"/>
              </a:ext>
            </a:extLst>
          </p:cNvPr>
          <p:cNvSpPr/>
          <p:nvPr/>
        </p:nvSpPr>
        <p:spPr>
          <a:xfrm>
            <a:off x="7692402" y="5282418"/>
            <a:ext cx="225269" cy="225269"/>
          </a:xfrm>
          <a:custGeom>
            <a:avLst/>
            <a:gdLst>
              <a:gd name="connsiteX0" fmla="*/ 181322 w 300358"/>
              <a:gd name="connsiteY0" fmla="*/ 204392 h 300358"/>
              <a:gd name="connsiteX1" fmla="*/ 179296 w 300358"/>
              <a:gd name="connsiteY1" fmla="*/ 209155 h 300358"/>
              <a:gd name="connsiteX2" fmla="*/ 177270 w 300358"/>
              <a:gd name="connsiteY2" fmla="*/ 213711 h 300358"/>
              <a:gd name="connsiteX3" fmla="*/ 175041 w 300358"/>
              <a:gd name="connsiteY3" fmla="*/ 218474 h 300358"/>
              <a:gd name="connsiteX4" fmla="*/ 172610 w 300358"/>
              <a:gd name="connsiteY4" fmla="*/ 223237 h 300358"/>
              <a:gd name="connsiteX5" fmla="*/ 169773 w 300358"/>
              <a:gd name="connsiteY5" fmla="*/ 227793 h 300358"/>
              <a:gd name="connsiteX6" fmla="*/ 167140 w 300358"/>
              <a:gd name="connsiteY6" fmla="*/ 232556 h 300358"/>
              <a:gd name="connsiteX7" fmla="*/ 164303 w 300358"/>
              <a:gd name="connsiteY7" fmla="*/ 237318 h 300358"/>
              <a:gd name="connsiteX8" fmla="*/ 161264 w 300358"/>
              <a:gd name="connsiteY8" fmla="*/ 241874 h 300358"/>
              <a:gd name="connsiteX9" fmla="*/ 165924 w 300358"/>
              <a:gd name="connsiteY9" fmla="*/ 241046 h 300358"/>
              <a:gd name="connsiteX10" fmla="*/ 170381 w 300358"/>
              <a:gd name="connsiteY10" fmla="*/ 240218 h 300358"/>
              <a:gd name="connsiteX11" fmla="*/ 174838 w 300358"/>
              <a:gd name="connsiteY11" fmla="*/ 238768 h 300358"/>
              <a:gd name="connsiteX12" fmla="*/ 179296 w 300358"/>
              <a:gd name="connsiteY12" fmla="*/ 237318 h 300358"/>
              <a:gd name="connsiteX13" fmla="*/ 183550 w 300358"/>
              <a:gd name="connsiteY13" fmla="*/ 235662 h 300358"/>
              <a:gd name="connsiteX14" fmla="*/ 187805 w 300358"/>
              <a:gd name="connsiteY14" fmla="*/ 233798 h 300358"/>
              <a:gd name="connsiteX15" fmla="*/ 191655 w 300358"/>
              <a:gd name="connsiteY15" fmla="*/ 231520 h 300358"/>
              <a:gd name="connsiteX16" fmla="*/ 195504 w 300358"/>
              <a:gd name="connsiteY16" fmla="*/ 229242 h 300358"/>
              <a:gd name="connsiteX17" fmla="*/ 199353 w 300358"/>
              <a:gd name="connsiteY17" fmla="*/ 226757 h 300358"/>
              <a:gd name="connsiteX18" fmla="*/ 203203 w 300358"/>
              <a:gd name="connsiteY18" fmla="*/ 223858 h 300358"/>
              <a:gd name="connsiteX19" fmla="*/ 206647 w 300358"/>
              <a:gd name="connsiteY19" fmla="*/ 221166 h 300358"/>
              <a:gd name="connsiteX20" fmla="*/ 210091 w 300358"/>
              <a:gd name="connsiteY20" fmla="*/ 218060 h 300358"/>
              <a:gd name="connsiteX21" fmla="*/ 213130 w 300358"/>
              <a:gd name="connsiteY21" fmla="*/ 214746 h 300358"/>
              <a:gd name="connsiteX22" fmla="*/ 216170 w 300358"/>
              <a:gd name="connsiteY22" fmla="*/ 211433 h 300358"/>
              <a:gd name="connsiteX23" fmla="*/ 219209 w 300358"/>
              <a:gd name="connsiteY23" fmla="*/ 207913 h 300358"/>
              <a:gd name="connsiteX24" fmla="*/ 222045 w 300358"/>
              <a:gd name="connsiteY24" fmla="*/ 204392 h 300358"/>
              <a:gd name="connsiteX25" fmla="*/ 121756 w 300358"/>
              <a:gd name="connsiteY25" fmla="*/ 204392 h 300358"/>
              <a:gd name="connsiteX26" fmla="*/ 123767 w 300358"/>
              <a:gd name="connsiteY26" fmla="*/ 209152 h 300358"/>
              <a:gd name="connsiteX27" fmla="*/ 125978 w 300358"/>
              <a:gd name="connsiteY27" fmla="*/ 213913 h 300358"/>
              <a:gd name="connsiteX28" fmla="*/ 128391 w 300358"/>
              <a:gd name="connsiteY28" fmla="*/ 218673 h 300358"/>
              <a:gd name="connsiteX29" fmla="*/ 131005 w 300358"/>
              <a:gd name="connsiteY29" fmla="*/ 223433 h 300358"/>
              <a:gd name="connsiteX30" fmla="*/ 133819 w 300358"/>
              <a:gd name="connsiteY30" fmla="*/ 228193 h 300358"/>
              <a:gd name="connsiteX31" fmla="*/ 136835 w 300358"/>
              <a:gd name="connsiteY31" fmla="*/ 233367 h 300358"/>
              <a:gd name="connsiteX32" fmla="*/ 139851 w 300358"/>
              <a:gd name="connsiteY32" fmla="*/ 238127 h 300358"/>
              <a:gd name="connsiteX33" fmla="*/ 143068 w 300358"/>
              <a:gd name="connsiteY33" fmla="*/ 242887 h 300358"/>
              <a:gd name="connsiteX34" fmla="*/ 145280 w 300358"/>
              <a:gd name="connsiteY34" fmla="*/ 242887 h 300358"/>
              <a:gd name="connsiteX35" fmla="*/ 147893 w 300358"/>
              <a:gd name="connsiteY35" fmla="*/ 242887 h 300358"/>
              <a:gd name="connsiteX36" fmla="*/ 150507 w 300358"/>
              <a:gd name="connsiteY36" fmla="*/ 242887 h 300358"/>
              <a:gd name="connsiteX37" fmla="*/ 152920 w 300358"/>
              <a:gd name="connsiteY37" fmla="*/ 242887 h 300358"/>
              <a:gd name="connsiteX38" fmla="*/ 156137 w 300358"/>
              <a:gd name="connsiteY38" fmla="*/ 238127 h 300358"/>
              <a:gd name="connsiteX39" fmla="*/ 159354 w 300358"/>
              <a:gd name="connsiteY39" fmla="*/ 232953 h 300358"/>
              <a:gd name="connsiteX40" fmla="*/ 162169 w 300358"/>
              <a:gd name="connsiteY40" fmla="*/ 228193 h 300358"/>
              <a:gd name="connsiteX41" fmla="*/ 164983 w 300358"/>
              <a:gd name="connsiteY41" fmla="*/ 223433 h 300358"/>
              <a:gd name="connsiteX42" fmla="*/ 167798 w 300358"/>
              <a:gd name="connsiteY42" fmla="*/ 218673 h 300358"/>
              <a:gd name="connsiteX43" fmla="*/ 170211 w 300358"/>
              <a:gd name="connsiteY43" fmla="*/ 213913 h 300358"/>
              <a:gd name="connsiteX44" fmla="*/ 172422 w 300358"/>
              <a:gd name="connsiteY44" fmla="*/ 209152 h 300358"/>
              <a:gd name="connsiteX45" fmla="*/ 174433 w 300358"/>
              <a:gd name="connsiteY45" fmla="*/ 204392 h 300358"/>
              <a:gd name="connsiteX46" fmla="*/ 74145 w 300358"/>
              <a:gd name="connsiteY46" fmla="*/ 204392 h 300358"/>
              <a:gd name="connsiteX47" fmla="*/ 76991 w 300358"/>
              <a:gd name="connsiteY47" fmla="*/ 207913 h 300358"/>
              <a:gd name="connsiteX48" fmla="*/ 79837 w 300358"/>
              <a:gd name="connsiteY48" fmla="*/ 211433 h 300358"/>
              <a:gd name="connsiteX49" fmla="*/ 82886 w 300358"/>
              <a:gd name="connsiteY49" fmla="*/ 214746 h 300358"/>
              <a:gd name="connsiteX50" fmla="*/ 86139 w 300358"/>
              <a:gd name="connsiteY50" fmla="*/ 218060 h 300358"/>
              <a:gd name="connsiteX51" fmla="*/ 89594 w 300358"/>
              <a:gd name="connsiteY51" fmla="*/ 221166 h 300358"/>
              <a:gd name="connsiteX52" fmla="*/ 93050 w 300358"/>
              <a:gd name="connsiteY52" fmla="*/ 224065 h 300358"/>
              <a:gd name="connsiteX53" fmla="*/ 96912 w 300358"/>
              <a:gd name="connsiteY53" fmla="*/ 226757 h 300358"/>
              <a:gd name="connsiteX54" fmla="*/ 100572 w 300358"/>
              <a:gd name="connsiteY54" fmla="*/ 229449 h 300358"/>
              <a:gd name="connsiteX55" fmla="*/ 104434 w 300358"/>
              <a:gd name="connsiteY55" fmla="*/ 231727 h 300358"/>
              <a:gd name="connsiteX56" fmla="*/ 108500 w 300358"/>
              <a:gd name="connsiteY56" fmla="*/ 233798 h 300358"/>
              <a:gd name="connsiteX57" fmla="*/ 112768 w 300358"/>
              <a:gd name="connsiteY57" fmla="*/ 235869 h 300358"/>
              <a:gd name="connsiteX58" fmla="*/ 117037 w 300358"/>
              <a:gd name="connsiteY58" fmla="*/ 237318 h 300358"/>
              <a:gd name="connsiteX59" fmla="*/ 121306 w 300358"/>
              <a:gd name="connsiteY59" fmla="*/ 238975 h 300358"/>
              <a:gd name="connsiteX60" fmla="*/ 125778 w 300358"/>
              <a:gd name="connsiteY60" fmla="*/ 240218 h 300358"/>
              <a:gd name="connsiteX61" fmla="*/ 130251 w 300358"/>
              <a:gd name="connsiteY61" fmla="*/ 241253 h 300358"/>
              <a:gd name="connsiteX62" fmla="*/ 134926 w 300358"/>
              <a:gd name="connsiteY62" fmla="*/ 241874 h 300358"/>
              <a:gd name="connsiteX63" fmla="*/ 131674 w 300358"/>
              <a:gd name="connsiteY63" fmla="*/ 237318 h 300358"/>
              <a:gd name="connsiteX64" fmla="*/ 128828 w 300358"/>
              <a:gd name="connsiteY64" fmla="*/ 232556 h 300358"/>
              <a:gd name="connsiteX65" fmla="*/ 126185 w 300358"/>
              <a:gd name="connsiteY65" fmla="*/ 227793 h 300358"/>
              <a:gd name="connsiteX66" fmla="*/ 123542 w 300358"/>
              <a:gd name="connsiteY66" fmla="*/ 223237 h 300358"/>
              <a:gd name="connsiteX67" fmla="*/ 121103 w 300358"/>
              <a:gd name="connsiteY67" fmla="*/ 218474 h 300358"/>
              <a:gd name="connsiteX68" fmla="*/ 118867 w 300358"/>
              <a:gd name="connsiteY68" fmla="*/ 213711 h 300358"/>
              <a:gd name="connsiteX69" fmla="*/ 116834 w 300358"/>
              <a:gd name="connsiteY69" fmla="*/ 209155 h 300358"/>
              <a:gd name="connsiteX70" fmla="*/ 114801 w 300358"/>
              <a:gd name="connsiteY70" fmla="*/ 204392 h 300358"/>
              <a:gd name="connsiteX71" fmla="*/ 192700 w 300358"/>
              <a:gd name="connsiteY71" fmla="*/ 157794 h 300358"/>
              <a:gd name="connsiteX72" fmla="*/ 192294 w 300358"/>
              <a:gd name="connsiteY72" fmla="*/ 163010 h 300358"/>
              <a:gd name="connsiteX73" fmla="*/ 191480 w 300358"/>
              <a:gd name="connsiteY73" fmla="*/ 167824 h 300358"/>
              <a:gd name="connsiteX74" fmla="*/ 190667 w 300358"/>
              <a:gd name="connsiteY74" fmla="*/ 172839 h 300358"/>
              <a:gd name="connsiteX75" fmla="*/ 189447 w 300358"/>
              <a:gd name="connsiteY75" fmla="*/ 178055 h 300358"/>
              <a:gd name="connsiteX76" fmla="*/ 188430 w 300358"/>
              <a:gd name="connsiteY76" fmla="*/ 183070 h 300358"/>
              <a:gd name="connsiteX77" fmla="*/ 186804 w 300358"/>
              <a:gd name="connsiteY77" fmla="*/ 188085 h 300358"/>
              <a:gd name="connsiteX78" fmla="*/ 185380 w 300358"/>
              <a:gd name="connsiteY78" fmla="*/ 193300 h 300358"/>
              <a:gd name="connsiteX79" fmla="*/ 183550 w 300358"/>
              <a:gd name="connsiteY79" fmla="*/ 198315 h 300358"/>
              <a:gd name="connsiteX80" fmla="*/ 226049 w 300358"/>
              <a:gd name="connsiteY80" fmla="*/ 198315 h 300358"/>
              <a:gd name="connsiteX81" fmla="*/ 228692 w 300358"/>
              <a:gd name="connsiteY81" fmla="*/ 193902 h 300358"/>
              <a:gd name="connsiteX82" fmla="*/ 230929 w 300358"/>
              <a:gd name="connsiteY82" fmla="*/ 189088 h 300358"/>
              <a:gd name="connsiteX83" fmla="*/ 233166 w 300358"/>
              <a:gd name="connsiteY83" fmla="*/ 184073 h 300358"/>
              <a:gd name="connsiteX84" fmla="*/ 234996 w 300358"/>
              <a:gd name="connsiteY84" fmla="*/ 179058 h 300358"/>
              <a:gd name="connsiteX85" fmla="*/ 236623 w 300358"/>
              <a:gd name="connsiteY85" fmla="*/ 174043 h 300358"/>
              <a:gd name="connsiteX86" fmla="*/ 237639 w 300358"/>
              <a:gd name="connsiteY86" fmla="*/ 168627 h 300358"/>
              <a:gd name="connsiteX87" fmla="*/ 238656 w 300358"/>
              <a:gd name="connsiteY87" fmla="*/ 163411 h 300358"/>
              <a:gd name="connsiteX88" fmla="*/ 239266 w 300358"/>
              <a:gd name="connsiteY88" fmla="*/ 157794 h 300358"/>
              <a:gd name="connsiteX89" fmla="*/ 108587 w 300358"/>
              <a:gd name="connsiteY89" fmla="*/ 157794 h 300358"/>
              <a:gd name="connsiteX90" fmla="*/ 109195 w 300358"/>
              <a:gd name="connsiteY90" fmla="*/ 163010 h 300358"/>
              <a:gd name="connsiteX91" fmla="*/ 110005 w 300358"/>
              <a:gd name="connsiteY91" fmla="*/ 167824 h 300358"/>
              <a:gd name="connsiteX92" fmla="*/ 110816 w 300358"/>
              <a:gd name="connsiteY92" fmla="*/ 172839 h 300358"/>
              <a:gd name="connsiteX93" fmla="*/ 111829 w 300358"/>
              <a:gd name="connsiteY93" fmla="*/ 178055 h 300358"/>
              <a:gd name="connsiteX94" fmla="*/ 113247 w 300358"/>
              <a:gd name="connsiteY94" fmla="*/ 183070 h 300358"/>
              <a:gd name="connsiteX95" fmla="*/ 114868 w 300358"/>
              <a:gd name="connsiteY95" fmla="*/ 188085 h 300358"/>
              <a:gd name="connsiteX96" fmla="*/ 116691 w 300358"/>
              <a:gd name="connsiteY96" fmla="*/ 193300 h 300358"/>
              <a:gd name="connsiteX97" fmla="*/ 118312 w 300358"/>
              <a:gd name="connsiteY97" fmla="*/ 198315 h 300358"/>
              <a:gd name="connsiteX98" fmla="*/ 176864 w 300358"/>
              <a:gd name="connsiteY98" fmla="*/ 198315 h 300358"/>
              <a:gd name="connsiteX99" fmla="*/ 178688 w 300358"/>
              <a:gd name="connsiteY99" fmla="*/ 193300 h 300358"/>
              <a:gd name="connsiteX100" fmla="*/ 180511 w 300358"/>
              <a:gd name="connsiteY100" fmla="*/ 188085 h 300358"/>
              <a:gd name="connsiteX101" fmla="*/ 181929 w 300358"/>
              <a:gd name="connsiteY101" fmla="*/ 183070 h 300358"/>
              <a:gd name="connsiteX102" fmla="*/ 183347 w 300358"/>
              <a:gd name="connsiteY102" fmla="*/ 178055 h 300358"/>
              <a:gd name="connsiteX103" fmla="*/ 184360 w 300358"/>
              <a:gd name="connsiteY103" fmla="*/ 172839 h 300358"/>
              <a:gd name="connsiteX104" fmla="*/ 185373 w 300358"/>
              <a:gd name="connsiteY104" fmla="*/ 167824 h 300358"/>
              <a:gd name="connsiteX105" fmla="*/ 186184 w 300358"/>
              <a:gd name="connsiteY105" fmla="*/ 163010 h 300358"/>
              <a:gd name="connsiteX106" fmla="*/ 186589 w 300358"/>
              <a:gd name="connsiteY106" fmla="*/ 157794 h 300358"/>
              <a:gd name="connsiteX107" fmla="*/ 56923 w 300358"/>
              <a:gd name="connsiteY107" fmla="*/ 157794 h 300358"/>
              <a:gd name="connsiteX108" fmla="*/ 57733 w 300358"/>
              <a:gd name="connsiteY108" fmla="*/ 163411 h 300358"/>
              <a:gd name="connsiteX109" fmla="*/ 58746 w 300358"/>
              <a:gd name="connsiteY109" fmla="*/ 168627 h 300358"/>
              <a:gd name="connsiteX110" fmla="*/ 59962 w 300358"/>
              <a:gd name="connsiteY110" fmla="*/ 174043 h 300358"/>
              <a:gd name="connsiteX111" fmla="*/ 61380 w 300358"/>
              <a:gd name="connsiteY111" fmla="*/ 179058 h 300358"/>
              <a:gd name="connsiteX112" fmla="*/ 63406 w 300358"/>
              <a:gd name="connsiteY112" fmla="*/ 184073 h 300358"/>
              <a:gd name="connsiteX113" fmla="*/ 65432 w 300358"/>
              <a:gd name="connsiteY113" fmla="*/ 189088 h 300358"/>
              <a:gd name="connsiteX114" fmla="*/ 67864 w 300358"/>
              <a:gd name="connsiteY114" fmla="*/ 193902 h 300358"/>
              <a:gd name="connsiteX115" fmla="*/ 70700 w 300358"/>
              <a:gd name="connsiteY115" fmla="*/ 198315 h 300358"/>
              <a:gd name="connsiteX116" fmla="*/ 112639 w 300358"/>
              <a:gd name="connsiteY116" fmla="*/ 198315 h 300358"/>
              <a:gd name="connsiteX117" fmla="*/ 110816 w 300358"/>
              <a:gd name="connsiteY117" fmla="*/ 193300 h 300358"/>
              <a:gd name="connsiteX118" fmla="*/ 109195 w 300358"/>
              <a:gd name="connsiteY118" fmla="*/ 188085 h 300358"/>
              <a:gd name="connsiteX119" fmla="*/ 107574 w 300358"/>
              <a:gd name="connsiteY119" fmla="*/ 183070 h 300358"/>
              <a:gd name="connsiteX120" fmla="*/ 106561 w 300358"/>
              <a:gd name="connsiteY120" fmla="*/ 178055 h 300358"/>
              <a:gd name="connsiteX121" fmla="*/ 105345 w 300358"/>
              <a:gd name="connsiteY121" fmla="*/ 172839 h 300358"/>
              <a:gd name="connsiteX122" fmla="*/ 104535 w 300358"/>
              <a:gd name="connsiteY122" fmla="*/ 168025 h 300358"/>
              <a:gd name="connsiteX123" fmla="*/ 103927 w 300358"/>
              <a:gd name="connsiteY123" fmla="*/ 163010 h 300358"/>
              <a:gd name="connsiteX124" fmla="*/ 103319 w 300358"/>
              <a:gd name="connsiteY124" fmla="*/ 157794 h 300358"/>
              <a:gd name="connsiteX125" fmla="*/ 188615 w 300358"/>
              <a:gd name="connsiteY125" fmla="*/ 110182 h 300358"/>
              <a:gd name="connsiteX126" fmla="*/ 189821 w 300358"/>
              <a:gd name="connsiteY126" fmla="*/ 115093 h 300358"/>
              <a:gd name="connsiteX127" fmla="*/ 191027 w 300358"/>
              <a:gd name="connsiteY127" fmla="*/ 120412 h 300358"/>
              <a:gd name="connsiteX128" fmla="*/ 191831 w 300358"/>
              <a:gd name="connsiteY128" fmla="*/ 125527 h 300358"/>
              <a:gd name="connsiteX129" fmla="*/ 192635 w 300358"/>
              <a:gd name="connsiteY129" fmla="*/ 130642 h 300358"/>
              <a:gd name="connsiteX130" fmla="*/ 193238 w 300358"/>
              <a:gd name="connsiteY130" fmla="*/ 135962 h 300358"/>
              <a:gd name="connsiteX131" fmla="*/ 193439 w 300358"/>
              <a:gd name="connsiteY131" fmla="*/ 141077 h 300358"/>
              <a:gd name="connsiteX132" fmla="*/ 193439 w 300358"/>
              <a:gd name="connsiteY132" fmla="*/ 146192 h 300358"/>
              <a:gd name="connsiteX133" fmla="*/ 193439 w 300358"/>
              <a:gd name="connsiteY133" fmla="*/ 151716 h 300358"/>
              <a:gd name="connsiteX134" fmla="*/ 239266 w 300358"/>
              <a:gd name="connsiteY134" fmla="*/ 151716 h 300358"/>
              <a:gd name="connsiteX135" fmla="*/ 239266 w 300358"/>
              <a:gd name="connsiteY135" fmla="*/ 151102 h 300358"/>
              <a:gd name="connsiteX136" fmla="*/ 239266 w 300358"/>
              <a:gd name="connsiteY136" fmla="*/ 150898 h 300358"/>
              <a:gd name="connsiteX137" fmla="*/ 239065 w 300358"/>
              <a:gd name="connsiteY137" fmla="*/ 145578 h 300358"/>
              <a:gd name="connsiteX138" fmla="*/ 238663 w 300358"/>
              <a:gd name="connsiteY138" fmla="*/ 140259 h 300358"/>
              <a:gd name="connsiteX139" fmla="*/ 237859 w 300358"/>
              <a:gd name="connsiteY139" fmla="*/ 134734 h 300358"/>
              <a:gd name="connsiteX140" fmla="*/ 236854 w 300358"/>
              <a:gd name="connsiteY140" fmla="*/ 129619 h 300358"/>
              <a:gd name="connsiteX141" fmla="*/ 235447 w 300358"/>
              <a:gd name="connsiteY141" fmla="*/ 124709 h 300358"/>
              <a:gd name="connsiteX142" fmla="*/ 234040 w 300358"/>
              <a:gd name="connsiteY142" fmla="*/ 119594 h 300358"/>
              <a:gd name="connsiteX143" fmla="*/ 232030 w 300358"/>
              <a:gd name="connsiteY143" fmla="*/ 114888 h 300358"/>
              <a:gd name="connsiteX144" fmla="*/ 229819 w 300358"/>
              <a:gd name="connsiteY144" fmla="*/ 110182 h 300358"/>
              <a:gd name="connsiteX145" fmla="*/ 113855 w 300358"/>
              <a:gd name="connsiteY145" fmla="*/ 110182 h 300358"/>
              <a:gd name="connsiteX146" fmla="*/ 112234 w 300358"/>
              <a:gd name="connsiteY146" fmla="*/ 115093 h 300358"/>
              <a:gd name="connsiteX147" fmla="*/ 111221 w 300358"/>
              <a:gd name="connsiteY147" fmla="*/ 120412 h 300358"/>
              <a:gd name="connsiteX148" fmla="*/ 110410 w 300358"/>
              <a:gd name="connsiteY148" fmla="*/ 125527 h 300358"/>
              <a:gd name="connsiteX149" fmla="*/ 109397 w 300358"/>
              <a:gd name="connsiteY149" fmla="*/ 130642 h 300358"/>
              <a:gd name="connsiteX150" fmla="*/ 108992 w 300358"/>
              <a:gd name="connsiteY150" fmla="*/ 135962 h 300358"/>
              <a:gd name="connsiteX151" fmla="*/ 108587 w 300358"/>
              <a:gd name="connsiteY151" fmla="*/ 141077 h 300358"/>
              <a:gd name="connsiteX152" fmla="*/ 108587 w 300358"/>
              <a:gd name="connsiteY152" fmla="*/ 146192 h 300358"/>
              <a:gd name="connsiteX153" fmla="*/ 108587 w 300358"/>
              <a:gd name="connsiteY153" fmla="*/ 151716 h 300358"/>
              <a:gd name="connsiteX154" fmla="*/ 187602 w 300358"/>
              <a:gd name="connsiteY154" fmla="*/ 151716 h 300358"/>
              <a:gd name="connsiteX155" fmla="*/ 187602 w 300358"/>
              <a:gd name="connsiteY155" fmla="*/ 146192 h 300358"/>
              <a:gd name="connsiteX156" fmla="*/ 187602 w 300358"/>
              <a:gd name="connsiteY156" fmla="*/ 141077 h 300358"/>
              <a:gd name="connsiteX157" fmla="*/ 186994 w 300358"/>
              <a:gd name="connsiteY157" fmla="*/ 135962 h 300358"/>
              <a:gd name="connsiteX158" fmla="*/ 186589 w 300358"/>
              <a:gd name="connsiteY158" fmla="*/ 130642 h 300358"/>
              <a:gd name="connsiteX159" fmla="*/ 185779 w 300358"/>
              <a:gd name="connsiteY159" fmla="*/ 125527 h 300358"/>
              <a:gd name="connsiteX160" fmla="*/ 184766 w 300358"/>
              <a:gd name="connsiteY160" fmla="*/ 120412 h 300358"/>
              <a:gd name="connsiteX161" fmla="*/ 183753 w 300358"/>
              <a:gd name="connsiteY161" fmla="*/ 115093 h 300358"/>
              <a:gd name="connsiteX162" fmla="*/ 182132 w 300358"/>
              <a:gd name="connsiteY162" fmla="*/ 110182 h 300358"/>
              <a:gd name="connsiteX163" fmla="*/ 65365 w 300358"/>
              <a:gd name="connsiteY163" fmla="*/ 110182 h 300358"/>
              <a:gd name="connsiteX164" fmla="*/ 63556 w 300358"/>
              <a:gd name="connsiteY164" fmla="*/ 114683 h 300358"/>
              <a:gd name="connsiteX165" fmla="*/ 61948 w 300358"/>
              <a:gd name="connsiteY165" fmla="*/ 119185 h 300358"/>
              <a:gd name="connsiteX166" fmla="*/ 60340 w 300358"/>
              <a:gd name="connsiteY166" fmla="*/ 123891 h 300358"/>
              <a:gd name="connsiteX167" fmla="*/ 59134 w 300358"/>
              <a:gd name="connsiteY167" fmla="*/ 128801 h 300358"/>
              <a:gd name="connsiteX168" fmla="*/ 58129 w 300358"/>
              <a:gd name="connsiteY168" fmla="*/ 133916 h 300358"/>
              <a:gd name="connsiteX169" fmla="*/ 57526 w 300358"/>
              <a:gd name="connsiteY169" fmla="*/ 138826 h 300358"/>
              <a:gd name="connsiteX170" fmla="*/ 56923 w 300358"/>
              <a:gd name="connsiteY170" fmla="*/ 143941 h 300358"/>
              <a:gd name="connsiteX171" fmla="*/ 56923 w 300358"/>
              <a:gd name="connsiteY171" fmla="*/ 149466 h 300358"/>
              <a:gd name="connsiteX172" fmla="*/ 56923 w 300358"/>
              <a:gd name="connsiteY172" fmla="*/ 150489 h 300358"/>
              <a:gd name="connsiteX173" fmla="*/ 56923 w 300358"/>
              <a:gd name="connsiteY173" fmla="*/ 151716 h 300358"/>
              <a:gd name="connsiteX174" fmla="*/ 102750 w 300358"/>
              <a:gd name="connsiteY174" fmla="*/ 151716 h 300358"/>
              <a:gd name="connsiteX175" fmla="*/ 102750 w 300358"/>
              <a:gd name="connsiteY175" fmla="*/ 146192 h 300358"/>
              <a:gd name="connsiteX176" fmla="*/ 102750 w 300358"/>
              <a:gd name="connsiteY176" fmla="*/ 141077 h 300358"/>
              <a:gd name="connsiteX177" fmla="*/ 102951 w 300358"/>
              <a:gd name="connsiteY177" fmla="*/ 135962 h 300358"/>
              <a:gd name="connsiteX178" fmla="*/ 103755 w 300358"/>
              <a:gd name="connsiteY178" fmla="*/ 130642 h 300358"/>
              <a:gd name="connsiteX179" fmla="*/ 104358 w 300358"/>
              <a:gd name="connsiteY179" fmla="*/ 125527 h 300358"/>
              <a:gd name="connsiteX180" fmla="*/ 105162 w 300358"/>
              <a:gd name="connsiteY180" fmla="*/ 120412 h 300358"/>
              <a:gd name="connsiteX181" fmla="*/ 106368 w 300358"/>
              <a:gd name="connsiteY181" fmla="*/ 115093 h 300358"/>
              <a:gd name="connsiteX182" fmla="*/ 107574 w 300358"/>
              <a:gd name="connsiteY182" fmla="*/ 110182 h 300358"/>
              <a:gd name="connsiteX183" fmla="*/ 162276 w 300358"/>
              <a:gd name="connsiteY183" fmla="*/ 61557 h 300358"/>
              <a:gd name="connsiteX184" fmla="*/ 166113 w 300358"/>
              <a:gd name="connsiteY184" fmla="*/ 66528 h 300358"/>
              <a:gd name="connsiteX185" fmla="*/ 169951 w 300358"/>
              <a:gd name="connsiteY185" fmla="*/ 71697 h 300358"/>
              <a:gd name="connsiteX186" fmla="*/ 173182 w 300358"/>
              <a:gd name="connsiteY186" fmla="*/ 77065 h 300358"/>
              <a:gd name="connsiteX187" fmla="*/ 176413 w 300358"/>
              <a:gd name="connsiteY187" fmla="*/ 82234 h 300358"/>
              <a:gd name="connsiteX188" fmla="*/ 179241 w 300358"/>
              <a:gd name="connsiteY188" fmla="*/ 87602 h 300358"/>
              <a:gd name="connsiteX189" fmla="*/ 181664 w 300358"/>
              <a:gd name="connsiteY189" fmla="*/ 92970 h 300358"/>
              <a:gd name="connsiteX190" fmla="*/ 184088 w 300358"/>
              <a:gd name="connsiteY190" fmla="*/ 98537 h 300358"/>
              <a:gd name="connsiteX191" fmla="*/ 186108 w 300358"/>
              <a:gd name="connsiteY191" fmla="*/ 104104 h 300358"/>
              <a:gd name="connsiteX192" fmla="*/ 226096 w 300358"/>
              <a:gd name="connsiteY192" fmla="*/ 104104 h 300358"/>
              <a:gd name="connsiteX193" fmla="*/ 223471 w 300358"/>
              <a:gd name="connsiteY193" fmla="*/ 99929 h 300358"/>
              <a:gd name="connsiteX194" fmla="*/ 220643 w 300358"/>
              <a:gd name="connsiteY194" fmla="*/ 96152 h 300358"/>
              <a:gd name="connsiteX195" fmla="*/ 217412 w 300358"/>
              <a:gd name="connsiteY195" fmla="*/ 92374 h 300358"/>
              <a:gd name="connsiteX196" fmla="*/ 214180 w 300358"/>
              <a:gd name="connsiteY196" fmla="*/ 88596 h 300358"/>
              <a:gd name="connsiteX197" fmla="*/ 210747 w 300358"/>
              <a:gd name="connsiteY197" fmla="*/ 85217 h 300358"/>
              <a:gd name="connsiteX198" fmla="*/ 207112 w 300358"/>
              <a:gd name="connsiteY198" fmla="*/ 82035 h 300358"/>
              <a:gd name="connsiteX199" fmla="*/ 203274 w 300358"/>
              <a:gd name="connsiteY199" fmla="*/ 79053 h 300358"/>
              <a:gd name="connsiteX200" fmla="*/ 199235 w 300358"/>
              <a:gd name="connsiteY200" fmla="*/ 76071 h 300358"/>
              <a:gd name="connsiteX201" fmla="*/ 194994 w 300358"/>
              <a:gd name="connsiteY201" fmla="*/ 73287 h 300358"/>
              <a:gd name="connsiteX202" fmla="*/ 190753 w 300358"/>
              <a:gd name="connsiteY202" fmla="*/ 70902 h 300358"/>
              <a:gd name="connsiteX203" fmla="*/ 186310 w 300358"/>
              <a:gd name="connsiteY203" fmla="*/ 68715 h 300358"/>
              <a:gd name="connsiteX204" fmla="*/ 181664 w 300358"/>
              <a:gd name="connsiteY204" fmla="*/ 66727 h 300358"/>
              <a:gd name="connsiteX205" fmla="*/ 177019 w 300358"/>
              <a:gd name="connsiteY205" fmla="*/ 65136 h 300358"/>
              <a:gd name="connsiteX206" fmla="*/ 172172 w 300358"/>
              <a:gd name="connsiteY206" fmla="*/ 63744 h 300358"/>
              <a:gd name="connsiteX207" fmla="*/ 167123 w 300358"/>
              <a:gd name="connsiteY207" fmla="*/ 62353 h 300358"/>
              <a:gd name="connsiteX208" fmla="*/ 133912 w 300358"/>
              <a:gd name="connsiteY208" fmla="*/ 61557 h 300358"/>
              <a:gd name="connsiteX209" fmla="*/ 128661 w 300358"/>
              <a:gd name="connsiteY209" fmla="*/ 62353 h 300358"/>
              <a:gd name="connsiteX210" fmla="*/ 123409 w 300358"/>
              <a:gd name="connsiteY210" fmla="*/ 63545 h 300358"/>
              <a:gd name="connsiteX211" fmla="*/ 118562 w 300358"/>
              <a:gd name="connsiteY211" fmla="*/ 64937 h 300358"/>
              <a:gd name="connsiteX212" fmla="*/ 113715 w 300358"/>
              <a:gd name="connsiteY212" fmla="*/ 66727 h 300358"/>
              <a:gd name="connsiteX213" fmla="*/ 109069 w 300358"/>
              <a:gd name="connsiteY213" fmla="*/ 68715 h 300358"/>
              <a:gd name="connsiteX214" fmla="*/ 104424 w 300358"/>
              <a:gd name="connsiteY214" fmla="*/ 70703 h 300358"/>
              <a:gd name="connsiteX215" fmla="*/ 99981 w 300358"/>
              <a:gd name="connsiteY215" fmla="*/ 73287 h 300358"/>
              <a:gd name="connsiteX216" fmla="*/ 95739 w 300358"/>
              <a:gd name="connsiteY216" fmla="*/ 75872 h 300358"/>
              <a:gd name="connsiteX217" fmla="*/ 91700 w 300358"/>
              <a:gd name="connsiteY217" fmla="*/ 78854 h 300358"/>
              <a:gd name="connsiteX218" fmla="*/ 87862 w 300358"/>
              <a:gd name="connsiteY218" fmla="*/ 81837 h 300358"/>
              <a:gd name="connsiteX219" fmla="*/ 84227 w 300358"/>
              <a:gd name="connsiteY219" fmla="*/ 85217 h 300358"/>
              <a:gd name="connsiteX220" fmla="*/ 80793 w 300358"/>
              <a:gd name="connsiteY220" fmla="*/ 88398 h 300358"/>
              <a:gd name="connsiteX221" fmla="*/ 77562 w 300358"/>
              <a:gd name="connsiteY221" fmla="*/ 92175 h 300358"/>
              <a:gd name="connsiteX222" fmla="*/ 74330 w 300358"/>
              <a:gd name="connsiteY222" fmla="*/ 96152 h 300358"/>
              <a:gd name="connsiteX223" fmla="*/ 71503 w 300358"/>
              <a:gd name="connsiteY223" fmla="*/ 99929 h 300358"/>
              <a:gd name="connsiteX224" fmla="*/ 69079 w 300358"/>
              <a:gd name="connsiteY224" fmla="*/ 104104 h 300358"/>
              <a:gd name="connsiteX225" fmla="*/ 109877 w 300358"/>
              <a:gd name="connsiteY225" fmla="*/ 104104 h 300358"/>
              <a:gd name="connsiteX226" fmla="*/ 112099 w 300358"/>
              <a:gd name="connsiteY226" fmla="*/ 98537 h 300358"/>
              <a:gd name="connsiteX227" fmla="*/ 114321 w 300358"/>
              <a:gd name="connsiteY227" fmla="*/ 92970 h 300358"/>
              <a:gd name="connsiteX228" fmla="*/ 117148 w 300358"/>
              <a:gd name="connsiteY228" fmla="*/ 87602 h 300358"/>
              <a:gd name="connsiteX229" fmla="*/ 119774 w 300358"/>
              <a:gd name="connsiteY229" fmla="*/ 82234 h 300358"/>
              <a:gd name="connsiteX230" fmla="*/ 122804 w 300358"/>
              <a:gd name="connsiteY230" fmla="*/ 76866 h 300358"/>
              <a:gd name="connsiteX231" fmla="*/ 126439 w 300358"/>
              <a:gd name="connsiteY231" fmla="*/ 71498 h 300358"/>
              <a:gd name="connsiteX232" fmla="*/ 129873 w 300358"/>
              <a:gd name="connsiteY232" fmla="*/ 66528 h 300358"/>
              <a:gd name="connsiteX233" fmla="*/ 144106 w 300358"/>
              <a:gd name="connsiteY233" fmla="*/ 59531 h 300358"/>
              <a:gd name="connsiteX234" fmla="*/ 143084 w 300358"/>
              <a:gd name="connsiteY234" fmla="*/ 59734 h 300358"/>
              <a:gd name="connsiteX235" fmla="*/ 142266 w 300358"/>
              <a:gd name="connsiteY235" fmla="*/ 59734 h 300358"/>
              <a:gd name="connsiteX236" fmla="*/ 137971 w 300358"/>
              <a:gd name="connsiteY236" fmla="*/ 65204 h 300358"/>
              <a:gd name="connsiteX237" fmla="*/ 133880 w 300358"/>
              <a:gd name="connsiteY237" fmla="*/ 70472 h 300358"/>
              <a:gd name="connsiteX238" fmla="*/ 130199 w 300358"/>
              <a:gd name="connsiteY238" fmla="*/ 75942 h 300358"/>
              <a:gd name="connsiteX239" fmla="*/ 126518 w 300358"/>
              <a:gd name="connsiteY239" fmla="*/ 81413 h 300358"/>
              <a:gd name="connsiteX240" fmla="*/ 123450 w 300358"/>
              <a:gd name="connsiteY240" fmla="*/ 87085 h 300358"/>
              <a:gd name="connsiteX241" fmla="*/ 120382 w 300358"/>
              <a:gd name="connsiteY241" fmla="*/ 92556 h 300358"/>
              <a:gd name="connsiteX242" fmla="*/ 117928 w 300358"/>
              <a:gd name="connsiteY242" fmla="*/ 98431 h 300358"/>
              <a:gd name="connsiteX243" fmla="*/ 115678 w 300358"/>
              <a:gd name="connsiteY243" fmla="*/ 104104 h 300358"/>
              <a:gd name="connsiteX244" fmla="*/ 180511 w 300358"/>
              <a:gd name="connsiteY244" fmla="*/ 104104 h 300358"/>
              <a:gd name="connsiteX245" fmla="*/ 178261 w 300358"/>
              <a:gd name="connsiteY245" fmla="*/ 98431 h 300358"/>
              <a:gd name="connsiteX246" fmla="*/ 175807 w 300358"/>
              <a:gd name="connsiteY246" fmla="*/ 92556 h 300358"/>
              <a:gd name="connsiteX247" fmla="*/ 172944 w 300358"/>
              <a:gd name="connsiteY247" fmla="*/ 87085 h 300358"/>
              <a:gd name="connsiteX248" fmla="*/ 169671 w 300358"/>
              <a:gd name="connsiteY248" fmla="*/ 81413 h 300358"/>
              <a:gd name="connsiteX249" fmla="*/ 166195 w 300358"/>
              <a:gd name="connsiteY249" fmla="*/ 75942 h 300358"/>
              <a:gd name="connsiteX250" fmla="*/ 162309 w 300358"/>
              <a:gd name="connsiteY250" fmla="*/ 70472 h 300358"/>
              <a:gd name="connsiteX251" fmla="*/ 158218 w 300358"/>
              <a:gd name="connsiteY251" fmla="*/ 65204 h 300358"/>
              <a:gd name="connsiteX252" fmla="*/ 153923 w 300358"/>
              <a:gd name="connsiteY252" fmla="*/ 59734 h 300358"/>
              <a:gd name="connsiteX253" fmla="*/ 151060 w 300358"/>
              <a:gd name="connsiteY253" fmla="*/ 59531 h 300358"/>
              <a:gd name="connsiteX254" fmla="*/ 148197 w 300358"/>
              <a:gd name="connsiteY254" fmla="*/ 59531 h 300358"/>
              <a:gd name="connsiteX255" fmla="*/ 146152 w 300358"/>
              <a:gd name="connsiteY255" fmla="*/ 59531 h 300358"/>
              <a:gd name="connsiteX256" fmla="*/ 150179 w 300358"/>
              <a:gd name="connsiteY256" fmla="*/ 0 h 300358"/>
              <a:gd name="connsiteX257" fmla="*/ 300358 w 300358"/>
              <a:gd name="connsiteY257" fmla="*/ 150179 h 300358"/>
              <a:gd name="connsiteX258" fmla="*/ 150179 w 300358"/>
              <a:gd name="connsiteY258" fmla="*/ 300358 h 300358"/>
              <a:gd name="connsiteX259" fmla="*/ 0 w 300358"/>
              <a:gd name="connsiteY259" fmla="*/ 150179 h 300358"/>
              <a:gd name="connsiteX260" fmla="*/ 150179 w 300358"/>
              <a:gd name="connsiteY260" fmla="*/ 0 h 30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</a:cxnLst>
            <a:rect l="l" t="t" r="r" b="b"/>
            <a:pathLst>
              <a:path w="300358" h="300358">
                <a:moveTo>
                  <a:pt x="181322" y="204392"/>
                </a:moveTo>
                <a:lnTo>
                  <a:pt x="179296" y="209155"/>
                </a:lnTo>
                <a:lnTo>
                  <a:pt x="177270" y="213711"/>
                </a:lnTo>
                <a:lnTo>
                  <a:pt x="175041" y="218474"/>
                </a:lnTo>
                <a:lnTo>
                  <a:pt x="172610" y="223237"/>
                </a:lnTo>
                <a:lnTo>
                  <a:pt x="169773" y="227793"/>
                </a:lnTo>
                <a:lnTo>
                  <a:pt x="167140" y="232556"/>
                </a:lnTo>
                <a:lnTo>
                  <a:pt x="164303" y="237318"/>
                </a:lnTo>
                <a:lnTo>
                  <a:pt x="161264" y="241874"/>
                </a:lnTo>
                <a:lnTo>
                  <a:pt x="165924" y="241046"/>
                </a:lnTo>
                <a:lnTo>
                  <a:pt x="170381" y="240218"/>
                </a:lnTo>
                <a:lnTo>
                  <a:pt x="174838" y="238768"/>
                </a:lnTo>
                <a:lnTo>
                  <a:pt x="179296" y="237318"/>
                </a:lnTo>
                <a:lnTo>
                  <a:pt x="183550" y="235662"/>
                </a:lnTo>
                <a:lnTo>
                  <a:pt x="187805" y="233798"/>
                </a:lnTo>
                <a:lnTo>
                  <a:pt x="191655" y="231520"/>
                </a:lnTo>
                <a:lnTo>
                  <a:pt x="195504" y="229242"/>
                </a:lnTo>
                <a:lnTo>
                  <a:pt x="199353" y="226757"/>
                </a:lnTo>
                <a:lnTo>
                  <a:pt x="203203" y="223858"/>
                </a:lnTo>
                <a:lnTo>
                  <a:pt x="206647" y="221166"/>
                </a:lnTo>
                <a:lnTo>
                  <a:pt x="210091" y="218060"/>
                </a:lnTo>
                <a:lnTo>
                  <a:pt x="213130" y="214746"/>
                </a:lnTo>
                <a:lnTo>
                  <a:pt x="216170" y="211433"/>
                </a:lnTo>
                <a:lnTo>
                  <a:pt x="219209" y="207913"/>
                </a:lnTo>
                <a:lnTo>
                  <a:pt x="222045" y="204392"/>
                </a:lnTo>
                <a:close/>
                <a:moveTo>
                  <a:pt x="121756" y="204392"/>
                </a:moveTo>
                <a:lnTo>
                  <a:pt x="123767" y="209152"/>
                </a:lnTo>
                <a:lnTo>
                  <a:pt x="125978" y="213913"/>
                </a:lnTo>
                <a:lnTo>
                  <a:pt x="128391" y="218673"/>
                </a:lnTo>
                <a:lnTo>
                  <a:pt x="131005" y="223433"/>
                </a:lnTo>
                <a:lnTo>
                  <a:pt x="133819" y="228193"/>
                </a:lnTo>
                <a:lnTo>
                  <a:pt x="136835" y="233367"/>
                </a:lnTo>
                <a:lnTo>
                  <a:pt x="139851" y="238127"/>
                </a:lnTo>
                <a:lnTo>
                  <a:pt x="143068" y="242887"/>
                </a:lnTo>
                <a:lnTo>
                  <a:pt x="145280" y="242887"/>
                </a:lnTo>
                <a:lnTo>
                  <a:pt x="147893" y="242887"/>
                </a:lnTo>
                <a:lnTo>
                  <a:pt x="150507" y="242887"/>
                </a:lnTo>
                <a:lnTo>
                  <a:pt x="152920" y="242887"/>
                </a:lnTo>
                <a:lnTo>
                  <a:pt x="156137" y="238127"/>
                </a:lnTo>
                <a:lnTo>
                  <a:pt x="159354" y="232953"/>
                </a:lnTo>
                <a:lnTo>
                  <a:pt x="162169" y="228193"/>
                </a:lnTo>
                <a:lnTo>
                  <a:pt x="164983" y="223433"/>
                </a:lnTo>
                <a:lnTo>
                  <a:pt x="167798" y="218673"/>
                </a:lnTo>
                <a:lnTo>
                  <a:pt x="170211" y="213913"/>
                </a:lnTo>
                <a:lnTo>
                  <a:pt x="172422" y="209152"/>
                </a:lnTo>
                <a:lnTo>
                  <a:pt x="174433" y="204392"/>
                </a:lnTo>
                <a:close/>
                <a:moveTo>
                  <a:pt x="74145" y="204392"/>
                </a:moveTo>
                <a:lnTo>
                  <a:pt x="76991" y="207913"/>
                </a:lnTo>
                <a:lnTo>
                  <a:pt x="79837" y="211433"/>
                </a:lnTo>
                <a:lnTo>
                  <a:pt x="82886" y="214746"/>
                </a:lnTo>
                <a:lnTo>
                  <a:pt x="86139" y="218060"/>
                </a:lnTo>
                <a:lnTo>
                  <a:pt x="89594" y="221166"/>
                </a:lnTo>
                <a:lnTo>
                  <a:pt x="93050" y="224065"/>
                </a:lnTo>
                <a:lnTo>
                  <a:pt x="96912" y="226757"/>
                </a:lnTo>
                <a:lnTo>
                  <a:pt x="100572" y="229449"/>
                </a:lnTo>
                <a:lnTo>
                  <a:pt x="104434" y="231727"/>
                </a:lnTo>
                <a:lnTo>
                  <a:pt x="108500" y="233798"/>
                </a:lnTo>
                <a:lnTo>
                  <a:pt x="112768" y="235869"/>
                </a:lnTo>
                <a:lnTo>
                  <a:pt x="117037" y="237318"/>
                </a:lnTo>
                <a:lnTo>
                  <a:pt x="121306" y="238975"/>
                </a:lnTo>
                <a:lnTo>
                  <a:pt x="125778" y="240218"/>
                </a:lnTo>
                <a:lnTo>
                  <a:pt x="130251" y="241253"/>
                </a:lnTo>
                <a:lnTo>
                  <a:pt x="134926" y="241874"/>
                </a:lnTo>
                <a:lnTo>
                  <a:pt x="131674" y="237318"/>
                </a:lnTo>
                <a:lnTo>
                  <a:pt x="128828" y="232556"/>
                </a:lnTo>
                <a:lnTo>
                  <a:pt x="126185" y="227793"/>
                </a:lnTo>
                <a:lnTo>
                  <a:pt x="123542" y="223237"/>
                </a:lnTo>
                <a:lnTo>
                  <a:pt x="121103" y="218474"/>
                </a:lnTo>
                <a:lnTo>
                  <a:pt x="118867" y="213711"/>
                </a:lnTo>
                <a:lnTo>
                  <a:pt x="116834" y="209155"/>
                </a:lnTo>
                <a:lnTo>
                  <a:pt x="114801" y="204392"/>
                </a:lnTo>
                <a:close/>
                <a:moveTo>
                  <a:pt x="192700" y="157794"/>
                </a:moveTo>
                <a:lnTo>
                  <a:pt x="192294" y="163010"/>
                </a:lnTo>
                <a:lnTo>
                  <a:pt x="191480" y="167824"/>
                </a:lnTo>
                <a:lnTo>
                  <a:pt x="190667" y="172839"/>
                </a:lnTo>
                <a:lnTo>
                  <a:pt x="189447" y="178055"/>
                </a:lnTo>
                <a:lnTo>
                  <a:pt x="188430" y="183070"/>
                </a:lnTo>
                <a:lnTo>
                  <a:pt x="186804" y="188085"/>
                </a:lnTo>
                <a:lnTo>
                  <a:pt x="185380" y="193300"/>
                </a:lnTo>
                <a:lnTo>
                  <a:pt x="183550" y="198315"/>
                </a:lnTo>
                <a:lnTo>
                  <a:pt x="226049" y="198315"/>
                </a:lnTo>
                <a:lnTo>
                  <a:pt x="228692" y="193902"/>
                </a:lnTo>
                <a:lnTo>
                  <a:pt x="230929" y="189088"/>
                </a:lnTo>
                <a:lnTo>
                  <a:pt x="233166" y="184073"/>
                </a:lnTo>
                <a:lnTo>
                  <a:pt x="234996" y="179058"/>
                </a:lnTo>
                <a:lnTo>
                  <a:pt x="236623" y="174043"/>
                </a:lnTo>
                <a:lnTo>
                  <a:pt x="237639" y="168627"/>
                </a:lnTo>
                <a:lnTo>
                  <a:pt x="238656" y="163411"/>
                </a:lnTo>
                <a:lnTo>
                  <a:pt x="239266" y="157794"/>
                </a:lnTo>
                <a:close/>
                <a:moveTo>
                  <a:pt x="108587" y="157794"/>
                </a:moveTo>
                <a:lnTo>
                  <a:pt x="109195" y="163010"/>
                </a:lnTo>
                <a:lnTo>
                  <a:pt x="110005" y="167824"/>
                </a:lnTo>
                <a:lnTo>
                  <a:pt x="110816" y="172839"/>
                </a:lnTo>
                <a:lnTo>
                  <a:pt x="111829" y="178055"/>
                </a:lnTo>
                <a:lnTo>
                  <a:pt x="113247" y="183070"/>
                </a:lnTo>
                <a:lnTo>
                  <a:pt x="114868" y="188085"/>
                </a:lnTo>
                <a:lnTo>
                  <a:pt x="116691" y="193300"/>
                </a:lnTo>
                <a:lnTo>
                  <a:pt x="118312" y="198315"/>
                </a:lnTo>
                <a:lnTo>
                  <a:pt x="176864" y="198315"/>
                </a:lnTo>
                <a:lnTo>
                  <a:pt x="178688" y="193300"/>
                </a:lnTo>
                <a:lnTo>
                  <a:pt x="180511" y="188085"/>
                </a:lnTo>
                <a:lnTo>
                  <a:pt x="181929" y="183070"/>
                </a:lnTo>
                <a:lnTo>
                  <a:pt x="183347" y="178055"/>
                </a:lnTo>
                <a:lnTo>
                  <a:pt x="184360" y="172839"/>
                </a:lnTo>
                <a:lnTo>
                  <a:pt x="185373" y="167824"/>
                </a:lnTo>
                <a:lnTo>
                  <a:pt x="186184" y="163010"/>
                </a:lnTo>
                <a:lnTo>
                  <a:pt x="186589" y="157794"/>
                </a:lnTo>
                <a:close/>
                <a:moveTo>
                  <a:pt x="56923" y="157794"/>
                </a:moveTo>
                <a:lnTo>
                  <a:pt x="57733" y="163411"/>
                </a:lnTo>
                <a:lnTo>
                  <a:pt x="58746" y="168627"/>
                </a:lnTo>
                <a:lnTo>
                  <a:pt x="59962" y="174043"/>
                </a:lnTo>
                <a:lnTo>
                  <a:pt x="61380" y="179058"/>
                </a:lnTo>
                <a:lnTo>
                  <a:pt x="63406" y="184073"/>
                </a:lnTo>
                <a:lnTo>
                  <a:pt x="65432" y="189088"/>
                </a:lnTo>
                <a:lnTo>
                  <a:pt x="67864" y="193902"/>
                </a:lnTo>
                <a:lnTo>
                  <a:pt x="70700" y="198315"/>
                </a:lnTo>
                <a:lnTo>
                  <a:pt x="112639" y="198315"/>
                </a:lnTo>
                <a:lnTo>
                  <a:pt x="110816" y="193300"/>
                </a:lnTo>
                <a:lnTo>
                  <a:pt x="109195" y="188085"/>
                </a:lnTo>
                <a:lnTo>
                  <a:pt x="107574" y="183070"/>
                </a:lnTo>
                <a:lnTo>
                  <a:pt x="106561" y="178055"/>
                </a:lnTo>
                <a:lnTo>
                  <a:pt x="105345" y="172839"/>
                </a:lnTo>
                <a:lnTo>
                  <a:pt x="104535" y="168025"/>
                </a:lnTo>
                <a:lnTo>
                  <a:pt x="103927" y="163010"/>
                </a:lnTo>
                <a:lnTo>
                  <a:pt x="103319" y="157794"/>
                </a:lnTo>
                <a:close/>
                <a:moveTo>
                  <a:pt x="188615" y="110182"/>
                </a:moveTo>
                <a:lnTo>
                  <a:pt x="189821" y="115093"/>
                </a:lnTo>
                <a:lnTo>
                  <a:pt x="191027" y="120412"/>
                </a:lnTo>
                <a:lnTo>
                  <a:pt x="191831" y="125527"/>
                </a:lnTo>
                <a:lnTo>
                  <a:pt x="192635" y="130642"/>
                </a:lnTo>
                <a:lnTo>
                  <a:pt x="193238" y="135962"/>
                </a:lnTo>
                <a:lnTo>
                  <a:pt x="193439" y="141077"/>
                </a:lnTo>
                <a:lnTo>
                  <a:pt x="193439" y="146192"/>
                </a:lnTo>
                <a:lnTo>
                  <a:pt x="193439" y="151716"/>
                </a:lnTo>
                <a:lnTo>
                  <a:pt x="239266" y="151716"/>
                </a:lnTo>
                <a:lnTo>
                  <a:pt x="239266" y="151102"/>
                </a:lnTo>
                <a:lnTo>
                  <a:pt x="239266" y="150898"/>
                </a:lnTo>
                <a:lnTo>
                  <a:pt x="239065" y="145578"/>
                </a:lnTo>
                <a:lnTo>
                  <a:pt x="238663" y="140259"/>
                </a:lnTo>
                <a:lnTo>
                  <a:pt x="237859" y="134734"/>
                </a:lnTo>
                <a:lnTo>
                  <a:pt x="236854" y="129619"/>
                </a:lnTo>
                <a:lnTo>
                  <a:pt x="235447" y="124709"/>
                </a:lnTo>
                <a:lnTo>
                  <a:pt x="234040" y="119594"/>
                </a:lnTo>
                <a:lnTo>
                  <a:pt x="232030" y="114888"/>
                </a:lnTo>
                <a:lnTo>
                  <a:pt x="229819" y="110182"/>
                </a:lnTo>
                <a:close/>
                <a:moveTo>
                  <a:pt x="113855" y="110182"/>
                </a:moveTo>
                <a:lnTo>
                  <a:pt x="112234" y="115093"/>
                </a:lnTo>
                <a:lnTo>
                  <a:pt x="111221" y="120412"/>
                </a:lnTo>
                <a:lnTo>
                  <a:pt x="110410" y="125527"/>
                </a:lnTo>
                <a:lnTo>
                  <a:pt x="109397" y="130642"/>
                </a:lnTo>
                <a:lnTo>
                  <a:pt x="108992" y="135962"/>
                </a:lnTo>
                <a:lnTo>
                  <a:pt x="108587" y="141077"/>
                </a:lnTo>
                <a:lnTo>
                  <a:pt x="108587" y="146192"/>
                </a:lnTo>
                <a:lnTo>
                  <a:pt x="108587" y="151716"/>
                </a:lnTo>
                <a:lnTo>
                  <a:pt x="187602" y="151716"/>
                </a:lnTo>
                <a:lnTo>
                  <a:pt x="187602" y="146192"/>
                </a:lnTo>
                <a:lnTo>
                  <a:pt x="187602" y="141077"/>
                </a:lnTo>
                <a:lnTo>
                  <a:pt x="186994" y="135962"/>
                </a:lnTo>
                <a:lnTo>
                  <a:pt x="186589" y="130642"/>
                </a:lnTo>
                <a:lnTo>
                  <a:pt x="185779" y="125527"/>
                </a:lnTo>
                <a:lnTo>
                  <a:pt x="184766" y="120412"/>
                </a:lnTo>
                <a:lnTo>
                  <a:pt x="183753" y="115093"/>
                </a:lnTo>
                <a:lnTo>
                  <a:pt x="182132" y="110182"/>
                </a:lnTo>
                <a:close/>
                <a:moveTo>
                  <a:pt x="65365" y="110182"/>
                </a:moveTo>
                <a:lnTo>
                  <a:pt x="63556" y="114683"/>
                </a:lnTo>
                <a:lnTo>
                  <a:pt x="61948" y="119185"/>
                </a:lnTo>
                <a:lnTo>
                  <a:pt x="60340" y="123891"/>
                </a:lnTo>
                <a:lnTo>
                  <a:pt x="59134" y="128801"/>
                </a:lnTo>
                <a:lnTo>
                  <a:pt x="58129" y="133916"/>
                </a:lnTo>
                <a:lnTo>
                  <a:pt x="57526" y="138826"/>
                </a:lnTo>
                <a:lnTo>
                  <a:pt x="56923" y="143941"/>
                </a:lnTo>
                <a:lnTo>
                  <a:pt x="56923" y="149466"/>
                </a:lnTo>
                <a:lnTo>
                  <a:pt x="56923" y="150489"/>
                </a:lnTo>
                <a:lnTo>
                  <a:pt x="56923" y="151716"/>
                </a:lnTo>
                <a:lnTo>
                  <a:pt x="102750" y="151716"/>
                </a:lnTo>
                <a:lnTo>
                  <a:pt x="102750" y="146192"/>
                </a:lnTo>
                <a:lnTo>
                  <a:pt x="102750" y="141077"/>
                </a:lnTo>
                <a:lnTo>
                  <a:pt x="102951" y="135962"/>
                </a:lnTo>
                <a:lnTo>
                  <a:pt x="103755" y="130642"/>
                </a:lnTo>
                <a:lnTo>
                  <a:pt x="104358" y="125527"/>
                </a:lnTo>
                <a:lnTo>
                  <a:pt x="105162" y="120412"/>
                </a:lnTo>
                <a:lnTo>
                  <a:pt x="106368" y="115093"/>
                </a:lnTo>
                <a:lnTo>
                  <a:pt x="107574" y="110182"/>
                </a:lnTo>
                <a:close/>
                <a:moveTo>
                  <a:pt x="162276" y="61557"/>
                </a:moveTo>
                <a:lnTo>
                  <a:pt x="166113" y="66528"/>
                </a:lnTo>
                <a:lnTo>
                  <a:pt x="169951" y="71697"/>
                </a:lnTo>
                <a:lnTo>
                  <a:pt x="173182" y="77065"/>
                </a:lnTo>
                <a:lnTo>
                  <a:pt x="176413" y="82234"/>
                </a:lnTo>
                <a:lnTo>
                  <a:pt x="179241" y="87602"/>
                </a:lnTo>
                <a:lnTo>
                  <a:pt x="181664" y="92970"/>
                </a:lnTo>
                <a:lnTo>
                  <a:pt x="184088" y="98537"/>
                </a:lnTo>
                <a:lnTo>
                  <a:pt x="186108" y="104104"/>
                </a:lnTo>
                <a:lnTo>
                  <a:pt x="226096" y="104104"/>
                </a:lnTo>
                <a:lnTo>
                  <a:pt x="223471" y="99929"/>
                </a:lnTo>
                <a:lnTo>
                  <a:pt x="220643" y="96152"/>
                </a:lnTo>
                <a:lnTo>
                  <a:pt x="217412" y="92374"/>
                </a:lnTo>
                <a:lnTo>
                  <a:pt x="214180" y="88596"/>
                </a:lnTo>
                <a:lnTo>
                  <a:pt x="210747" y="85217"/>
                </a:lnTo>
                <a:lnTo>
                  <a:pt x="207112" y="82035"/>
                </a:lnTo>
                <a:lnTo>
                  <a:pt x="203274" y="79053"/>
                </a:lnTo>
                <a:lnTo>
                  <a:pt x="199235" y="76071"/>
                </a:lnTo>
                <a:lnTo>
                  <a:pt x="194994" y="73287"/>
                </a:lnTo>
                <a:lnTo>
                  <a:pt x="190753" y="70902"/>
                </a:lnTo>
                <a:lnTo>
                  <a:pt x="186310" y="68715"/>
                </a:lnTo>
                <a:lnTo>
                  <a:pt x="181664" y="66727"/>
                </a:lnTo>
                <a:lnTo>
                  <a:pt x="177019" y="65136"/>
                </a:lnTo>
                <a:lnTo>
                  <a:pt x="172172" y="63744"/>
                </a:lnTo>
                <a:lnTo>
                  <a:pt x="167123" y="62353"/>
                </a:lnTo>
                <a:close/>
                <a:moveTo>
                  <a:pt x="133912" y="61557"/>
                </a:moveTo>
                <a:lnTo>
                  <a:pt x="128661" y="62353"/>
                </a:lnTo>
                <a:lnTo>
                  <a:pt x="123409" y="63545"/>
                </a:lnTo>
                <a:lnTo>
                  <a:pt x="118562" y="64937"/>
                </a:lnTo>
                <a:lnTo>
                  <a:pt x="113715" y="66727"/>
                </a:lnTo>
                <a:lnTo>
                  <a:pt x="109069" y="68715"/>
                </a:lnTo>
                <a:lnTo>
                  <a:pt x="104424" y="70703"/>
                </a:lnTo>
                <a:lnTo>
                  <a:pt x="99981" y="73287"/>
                </a:lnTo>
                <a:lnTo>
                  <a:pt x="95739" y="75872"/>
                </a:lnTo>
                <a:lnTo>
                  <a:pt x="91700" y="78854"/>
                </a:lnTo>
                <a:lnTo>
                  <a:pt x="87862" y="81837"/>
                </a:lnTo>
                <a:lnTo>
                  <a:pt x="84227" y="85217"/>
                </a:lnTo>
                <a:lnTo>
                  <a:pt x="80793" y="88398"/>
                </a:lnTo>
                <a:lnTo>
                  <a:pt x="77562" y="92175"/>
                </a:lnTo>
                <a:lnTo>
                  <a:pt x="74330" y="96152"/>
                </a:lnTo>
                <a:lnTo>
                  <a:pt x="71503" y="99929"/>
                </a:lnTo>
                <a:lnTo>
                  <a:pt x="69079" y="104104"/>
                </a:lnTo>
                <a:lnTo>
                  <a:pt x="109877" y="104104"/>
                </a:lnTo>
                <a:lnTo>
                  <a:pt x="112099" y="98537"/>
                </a:lnTo>
                <a:lnTo>
                  <a:pt x="114321" y="92970"/>
                </a:lnTo>
                <a:lnTo>
                  <a:pt x="117148" y="87602"/>
                </a:lnTo>
                <a:lnTo>
                  <a:pt x="119774" y="82234"/>
                </a:lnTo>
                <a:lnTo>
                  <a:pt x="122804" y="76866"/>
                </a:lnTo>
                <a:lnTo>
                  <a:pt x="126439" y="71498"/>
                </a:lnTo>
                <a:lnTo>
                  <a:pt x="129873" y="66528"/>
                </a:lnTo>
                <a:close/>
                <a:moveTo>
                  <a:pt x="144106" y="59531"/>
                </a:moveTo>
                <a:lnTo>
                  <a:pt x="143084" y="59734"/>
                </a:lnTo>
                <a:lnTo>
                  <a:pt x="142266" y="59734"/>
                </a:lnTo>
                <a:lnTo>
                  <a:pt x="137971" y="65204"/>
                </a:lnTo>
                <a:lnTo>
                  <a:pt x="133880" y="70472"/>
                </a:lnTo>
                <a:lnTo>
                  <a:pt x="130199" y="75942"/>
                </a:lnTo>
                <a:lnTo>
                  <a:pt x="126518" y="81413"/>
                </a:lnTo>
                <a:lnTo>
                  <a:pt x="123450" y="87085"/>
                </a:lnTo>
                <a:lnTo>
                  <a:pt x="120382" y="92556"/>
                </a:lnTo>
                <a:lnTo>
                  <a:pt x="117928" y="98431"/>
                </a:lnTo>
                <a:lnTo>
                  <a:pt x="115678" y="104104"/>
                </a:lnTo>
                <a:lnTo>
                  <a:pt x="180511" y="104104"/>
                </a:lnTo>
                <a:lnTo>
                  <a:pt x="178261" y="98431"/>
                </a:lnTo>
                <a:lnTo>
                  <a:pt x="175807" y="92556"/>
                </a:lnTo>
                <a:lnTo>
                  <a:pt x="172944" y="87085"/>
                </a:lnTo>
                <a:lnTo>
                  <a:pt x="169671" y="81413"/>
                </a:lnTo>
                <a:lnTo>
                  <a:pt x="166195" y="75942"/>
                </a:lnTo>
                <a:lnTo>
                  <a:pt x="162309" y="70472"/>
                </a:lnTo>
                <a:lnTo>
                  <a:pt x="158218" y="65204"/>
                </a:lnTo>
                <a:lnTo>
                  <a:pt x="153923" y="59734"/>
                </a:lnTo>
                <a:lnTo>
                  <a:pt x="151060" y="59531"/>
                </a:lnTo>
                <a:lnTo>
                  <a:pt x="148197" y="59531"/>
                </a:lnTo>
                <a:lnTo>
                  <a:pt x="146152" y="59531"/>
                </a:lnTo>
                <a:close/>
                <a:moveTo>
                  <a:pt x="150179" y="0"/>
                </a:moveTo>
                <a:cubicBezTo>
                  <a:pt x="233121" y="0"/>
                  <a:pt x="300358" y="67237"/>
                  <a:pt x="300358" y="150179"/>
                </a:cubicBezTo>
                <a:cubicBezTo>
                  <a:pt x="300358" y="233121"/>
                  <a:pt x="233121" y="300358"/>
                  <a:pt x="150179" y="300358"/>
                </a:cubicBezTo>
                <a:cubicBezTo>
                  <a:pt x="67237" y="300358"/>
                  <a:pt x="0" y="233121"/>
                  <a:pt x="0" y="150179"/>
                </a:cubicBezTo>
                <a:cubicBezTo>
                  <a:pt x="0" y="67237"/>
                  <a:pt x="67237" y="0"/>
                  <a:pt x="150179" y="0"/>
                </a:cubicBez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1" dirty="0"/>
          </a:p>
        </p:txBody>
      </p:sp>
      <p:sp>
        <p:nvSpPr>
          <p:cNvPr id="30" name="Freeform 38">
            <a:extLst>
              <a:ext uri="{FF2B5EF4-FFF2-40B4-BE49-F238E27FC236}">
                <a16:creationId xmlns:a16="http://schemas.microsoft.com/office/drawing/2014/main" id="{91893684-BC90-4E79-BD05-499AD1B1F71E}"/>
              </a:ext>
            </a:extLst>
          </p:cNvPr>
          <p:cNvSpPr/>
          <p:nvPr/>
        </p:nvSpPr>
        <p:spPr>
          <a:xfrm>
            <a:off x="9506341" y="5688831"/>
            <a:ext cx="229289" cy="229289"/>
          </a:xfrm>
          <a:custGeom>
            <a:avLst/>
            <a:gdLst>
              <a:gd name="connsiteX0" fmla="*/ 240691 w 305718"/>
              <a:gd name="connsiteY0" fmla="*/ 107606 h 305718"/>
              <a:gd name="connsiteX1" fmla="*/ 158408 w 305718"/>
              <a:gd name="connsiteY1" fmla="*/ 162876 h 305718"/>
              <a:gd name="connsiteX2" fmla="*/ 157596 w 305718"/>
              <a:gd name="connsiteY2" fmla="*/ 163553 h 305718"/>
              <a:gd name="connsiteX3" fmla="*/ 156513 w 305718"/>
              <a:gd name="connsiteY3" fmla="*/ 163553 h 305718"/>
              <a:gd name="connsiteX4" fmla="*/ 155430 w 305718"/>
              <a:gd name="connsiteY4" fmla="*/ 163553 h 305718"/>
              <a:gd name="connsiteX5" fmla="*/ 154348 w 305718"/>
              <a:gd name="connsiteY5" fmla="*/ 163327 h 305718"/>
              <a:gd name="connsiteX6" fmla="*/ 64756 w 305718"/>
              <a:gd name="connsiteY6" fmla="*/ 108960 h 305718"/>
              <a:gd name="connsiteX7" fmla="*/ 63674 w 305718"/>
              <a:gd name="connsiteY7" fmla="*/ 110765 h 305718"/>
              <a:gd name="connsiteX8" fmla="*/ 62591 w 305718"/>
              <a:gd name="connsiteY8" fmla="*/ 112795 h 305718"/>
              <a:gd name="connsiteX9" fmla="*/ 62320 w 305718"/>
              <a:gd name="connsiteY9" fmla="*/ 115051 h 305718"/>
              <a:gd name="connsiteX10" fmla="*/ 61779 w 305718"/>
              <a:gd name="connsiteY10" fmla="*/ 117532 h 305718"/>
              <a:gd name="connsiteX11" fmla="*/ 61779 w 305718"/>
              <a:gd name="connsiteY11" fmla="*/ 188143 h 305718"/>
              <a:gd name="connsiteX12" fmla="*/ 62320 w 305718"/>
              <a:gd name="connsiteY12" fmla="*/ 189947 h 305718"/>
              <a:gd name="connsiteX13" fmla="*/ 62320 w 305718"/>
              <a:gd name="connsiteY13" fmla="*/ 191301 h 305718"/>
              <a:gd name="connsiteX14" fmla="*/ 62862 w 305718"/>
              <a:gd name="connsiteY14" fmla="*/ 193106 h 305718"/>
              <a:gd name="connsiteX15" fmla="*/ 63403 w 305718"/>
              <a:gd name="connsiteY15" fmla="*/ 194459 h 305718"/>
              <a:gd name="connsiteX16" fmla="*/ 64215 w 305718"/>
              <a:gd name="connsiteY16" fmla="*/ 196038 h 305718"/>
              <a:gd name="connsiteX17" fmla="*/ 65027 w 305718"/>
              <a:gd name="connsiteY17" fmla="*/ 197392 h 305718"/>
              <a:gd name="connsiteX18" fmla="*/ 66110 w 305718"/>
              <a:gd name="connsiteY18" fmla="*/ 198520 h 305718"/>
              <a:gd name="connsiteX19" fmla="*/ 67463 w 305718"/>
              <a:gd name="connsiteY19" fmla="*/ 199648 h 305718"/>
              <a:gd name="connsiteX20" fmla="*/ 68817 w 305718"/>
              <a:gd name="connsiteY20" fmla="*/ 200550 h 305718"/>
              <a:gd name="connsiteX21" fmla="*/ 70170 w 305718"/>
              <a:gd name="connsiteY21" fmla="*/ 201678 h 305718"/>
              <a:gd name="connsiteX22" fmla="*/ 71523 w 305718"/>
              <a:gd name="connsiteY22" fmla="*/ 202355 h 305718"/>
              <a:gd name="connsiteX23" fmla="*/ 73418 w 305718"/>
              <a:gd name="connsiteY23" fmla="*/ 203257 h 305718"/>
              <a:gd name="connsiteX24" fmla="*/ 75042 w 305718"/>
              <a:gd name="connsiteY24" fmla="*/ 203483 h 305718"/>
              <a:gd name="connsiteX25" fmla="*/ 77207 w 305718"/>
              <a:gd name="connsiteY25" fmla="*/ 204160 h 305718"/>
              <a:gd name="connsiteX26" fmla="*/ 78831 w 305718"/>
              <a:gd name="connsiteY26" fmla="*/ 204385 h 305718"/>
              <a:gd name="connsiteX27" fmla="*/ 80997 w 305718"/>
              <a:gd name="connsiteY27" fmla="*/ 204385 h 305718"/>
              <a:gd name="connsiteX28" fmla="*/ 224451 w 305718"/>
              <a:gd name="connsiteY28" fmla="*/ 204385 h 305718"/>
              <a:gd name="connsiteX29" fmla="*/ 226616 w 305718"/>
              <a:gd name="connsiteY29" fmla="*/ 204385 h 305718"/>
              <a:gd name="connsiteX30" fmla="*/ 228511 w 305718"/>
              <a:gd name="connsiteY30" fmla="*/ 204160 h 305718"/>
              <a:gd name="connsiteX31" fmla="*/ 230406 w 305718"/>
              <a:gd name="connsiteY31" fmla="*/ 203483 h 305718"/>
              <a:gd name="connsiteX32" fmla="*/ 232300 w 305718"/>
              <a:gd name="connsiteY32" fmla="*/ 203032 h 305718"/>
              <a:gd name="connsiteX33" fmla="*/ 233924 w 305718"/>
              <a:gd name="connsiteY33" fmla="*/ 202355 h 305718"/>
              <a:gd name="connsiteX34" fmla="*/ 235819 w 305718"/>
              <a:gd name="connsiteY34" fmla="*/ 201453 h 305718"/>
              <a:gd name="connsiteX35" fmla="*/ 237172 w 305718"/>
              <a:gd name="connsiteY35" fmla="*/ 200550 h 305718"/>
              <a:gd name="connsiteX36" fmla="*/ 238526 w 305718"/>
              <a:gd name="connsiteY36" fmla="*/ 199422 h 305718"/>
              <a:gd name="connsiteX37" fmla="*/ 239608 w 305718"/>
              <a:gd name="connsiteY37" fmla="*/ 198294 h 305718"/>
              <a:gd name="connsiteX38" fmla="*/ 240962 w 305718"/>
              <a:gd name="connsiteY38" fmla="*/ 197166 h 305718"/>
              <a:gd name="connsiteX39" fmla="*/ 242044 w 305718"/>
              <a:gd name="connsiteY39" fmla="*/ 195587 h 305718"/>
              <a:gd name="connsiteX40" fmla="*/ 242586 w 305718"/>
              <a:gd name="connsiteY40" fmla="*/ 194459 h 305718"/>
              <a:gd name="connsiteX41" fmla="*/ 243398 w 305718"/>
              <a:gd name="connsiteY41" fmla="*/ 192880 h 305718"/>
              <a:gd name="connsiteX42" fmla="*/ 243668 w 305718"/>
              <a:gd name="connsiteY42" fmla="*/ 191301 h 305718"/>
              <a:gd name="connsiteX43" fmla="*/ 243939 w 305718"/>
              <a:gd name="connsiteY43" fmla="*/ 189722 h 305718"/>
              <a:gd name="connsiteX44" fmla="*/ 243939 w 305718"/>
              <a:gd name="connsiteY44" fmla="*/ 188143 h 305718"/>
              <a:gd name="connsiteX45" fmla="*/ 243939 w 305718"/>
              <a:gd name="connsiteY45" fmla="*/ 117532 h 305718"/>
              <a:gd name="connsiteX46" fmla="*/ 243939 w 305718"/>
              <a:gd name="connsiteY46" fmla="*/ 114825 h 305718"/>
              <a:gd name="connsiteX47" fmla="*/ 243398 w 305718"/>
              <a:gd name="connsiteY47" fmla="*/ 112344 h 305718"/>
              <a:gd name="connsiteX48" fmla="*/ 242044 w 305718"/>
              <a:gd name="connsiteY48" fmla="*/ 109862 h 305718"/>
              <a:gd name="connsiteX49" fmla="*/ 81818 w 305718"/>
              <a:gd name="connsiteY49" fmla="*/ 101333 h 305718"/>
              <a:gd name="connsiteX50" fmla="*/ 78571 w 305718"/>
              <a:gd name="connsiteY50" fmla="*/ 101556 h 305718"/>
              <a:gd name="connsiteX51" fmla="*/ 75052 w 305718"/>
              <a:gd name="connsiteY51" fmla="*/ 102226 h 305718"/>
              <a:gd name="connsiteX52" fmla="*/ 72075 w 305718"/>
              <a:gd name="connsiteY52" fmla="*/ 103341 h 305718"/>
              <a:gd name="connsiteX53" fmla="*/ 69369 w 305718"/>
              <a:gd name="connsiteY53" fmla="*/ 104680 h 305718"/>
              <a:gd name="connsiteX54" fmla="*/ 156513 w 305718"/>
              <a:gd name="connsiteY54" fmla="*/ 156891 h 305718"/>
              <a:gd name="connsiteX55" fmla="*/ 236349 w 305718"/>
              <a:gd name="connsiteY55" fmla="*/ 103788 h 305718"/>
              <a:gd name="connsiteX56" fmla="*/ 233913 w 305718"/>
              <a:gd name="connsiteY56" fmla="*/ 102672 h 305718"/>
              <a:gd name="connsiteX57" fmla="*/ 231478 w 305718"/>
              <a:gd name="connsiteY57" fmla="*/ 102226 h 305718"/>
              <a:gd name="connsiteX58" fmla="*/ 228230 w 305718"/>
              <a:gd name="connsiteY58" fmla="*/ 101556 h 305718"/>
              <a:gd name="connsiteX59" fmla="*/ 224983 w 305718"/>
              <a:gd name="connsiteY59" fmla="*/ 101333 h 305718"/>
              <a:gd name="connsiteX60" fmla="*/ 152859 w 305718"/>
              <a:gd name="connsiteY60" fmla="*/ 0 h 305718"/>
              <a:gd name="connsiteX61" fmla="*/ 305718 w 305718"/>
              <a:gd name="connsiteY61" fmla="*/ 152859 h 305718"/>
              <a:gd name="connsiteX62" fmla="*/ 152859 w 305718"/>
              <a:gd name="connsiteY62" fmla="*/ 305718 h 305718"/>
              <a:gd name="connsiteX63" fmla="*/ 0 w 305718"/>
              <a:gd name="connsiteY63" fmla="*/ 152859 h 305718"/>
              <a:gd name="connsiteX64" fmla="*/ 152859 w 305718"/>
              <a:gd name="connsiteY64" fmla="*/ 0 h 305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305718" h="305718">
                <a:moveTo>
                  <a:pt x="240691" y="107606"/>
                </a:moveTo>
                <a:lnTo>
                  <a:pt x="158408" y="162876"/>
                </a:lnTo>
                <a:lnTo>
                  <a:pt x="157596" y="163553"/>
                </a:lnTo>
                <a:lnTo>
                  <a:pt x="156513" y="163553"/>
                </a:lnTo>
                <a:lnTo>
                  <a:pt x="155430" y="163553"/>
                </a:lnTo>
                <a:lnTo>
                  <a:pt x="154348" y="163327"/>
                </a:lnTo>
                <a:lnTo>
                  <a:pt x="64756" y="108960"/>
                </a:lnTo>
                <a:lnTo>
                  <a:pt x="63674" y="110765"/>
                </a:lnTo>
                <a:lnTo>
                  <a:pt x="62591" y="112795"/>
                </a:lnTo>
                <a:lnTo>
                  <a:pt x="62320" y="115051"/>
                </a:lnTo>
                <a:lnTo>
                  <a:pt x="61779" y="117532"/>
                </a:lnTo>
                <a:lnTo>
                  <a:pt x="61779" y="188143"/>
                </a:lnTo>
                <a:lnTo>
                  <a:pt x="62320" y="189947"/>
                </a:lnTo>
                <a:lnTo>
                  <a:pt x="62320" y="191301"/>
                </a:lnTo>
                <a:lnTo>
                  <a:pt x="62862" y="193106"/>
                </a:lnTo>
                <a:lnTo>
                  <a:pt x="63403" y="194459"/>
                </a:lnTo>
                <a:lnTo>
                  <a:pt x="64215" y="196038"/>
                </a:lnTo>
                <a:lnTo>
                  <a:pt x="65027" y="197392"/>
                </a:lnTo>
                <a:lnTo>
                  <a:pt x="66110" y="198520"/>
                </a:lnTo>
                <a:lnTo>
                  <a:pt x="67463" y="199648"/>
                </a:lnTo>
                <a:lnTo>
                  <a:pt x="68817" y="200550"/>
                </a:lnTo>
                <a:lnTo>
                  <a:pt x="70170" y="201678"/>
                </a:lnTo>
                <a:lnTo>
                  <a:pt x="71523" y="202355"/>
                </a:lnTo>
                <a:lnTo>
                  <a:pt x="73418" y="203257"/>
                </a:lnTo>
                <a:lnTo>
                  <a:pt x="75042" y="203483"/>
                </a:lnTo>
                <a:lnTo>
                  <a:pt x="77207" y="204160"/>
                </a:lnTo>
                <a:lnTo>
                  <a:pt x="78831" y="204385"/>
                </a:lnTo>
                <a:lnTo>
                  <a:pt x="80997" y="204385"/>
                </a:lnTo>
                <a:lnTo>
                  <a:pt x="224451" y="204385"/>
                </a:lnTo>
                <a:lnTo>
                  <a:pt x="226616" y="204385"/>
                </a:lnTo>
                <a:lnTo>
                  <a:pt x="228511" y="204160"/>
                </a:lnTo>
                <a:lnTo>
                  <a:pt x="230406" y="203483"/>
                </a:lnTo>
                <a:lnTo>
                  <a:pt x="232300" y="203032"/>
                </a:lnTo>
                <a:lnTo>
                  <a:pt x="233924" y="202355"/>
                </a:lnTo>
                <a:lnTo>
                  <a:pt x="235819" y="201453"/>
                </a:lnTo>
                <a:lnTo>
                  <a:pt x="237172" y="200550"/>
                </a:lnTo>
                <a:lnTo>
                  <a:pt x="238526" y="199422"/>
                </a:lnTo>
                <a:lnTo>
                  <a:pt x="239608" y="198294"/>
                </a:lnTo>
                <a:lnTo>
                  <a:pt x="240962" y="197166"/>
                </a:lnTo>
                <a:lnTo>
                  <a:pt x="242044" y="195587"/>
                </a:lnTo>
                <a:lnTo>
                  <a:pt x="242586" y="194459"/>
                </a:lnTo>
                <a:lnTo>
                  <a:pt x="243398" y="192880"/>
                </a:lnTo>
                <a:lnTo>
                  <a:pt x="243668" y="191301"/>
                </a:lnTo>
                <a:lnTo>
                  <a:pt x="243939" y="189722"/>
                </a:lnTo>
                <a:lnTo>
                  <a:pt x="243939" y="188143"/>
                </a:lnTo>
                <a:lnTo>
                  <a:pt x="243939" y="117532"/>
                </a:lnTo>
                <a:lnTo>
                  <a:pt x="243939" y="114825"/>
                </a:lnTo>
                <a:lnTo>
                  <a:pt x="243398" y="112344"/>
                </a:lnTo>
                <a:lnTo>
                  <a:pt x="242044" y="109862"/>
                </a:lnTo>
                <a:close/>
                <a:moveTo>
                  <a:pt x="81818" y="101333"/>
                </a:moveTo>
                <a:lnTo>
                  <a:pt x="78571" y="101556"/>
                </a:lnTo>
                <a:lnTo>
                  <a:pt x="75052" y="102226"/>
                </a:lnTo>
                <a:lnTo>
                  <a:pt x="72075" y="103341"/>
                </a:lnTo>
                <a:lnTo>
                  <a:pt x="69369" y="104680"/>
                </a:lnTo>
                <a:lnTo>
                  <a:pt x="156513" y="156891"/>
                </a:lnTo>
                <a:lnTo>
                  <a:pt x="236349" y="103788"/>
                </a:lnTo>
                <a:lnTo>
                  <a:pt x="233913" y="102672"/>
                </a:lnTo>
                <a:lnTo>
                  <a:pt x="231478" y="102226"/>
                </a:lnTo>
                <a:lnTo>
                  <a:pt x="228230" y="101556"/>
                </a:lnTo>
                <a:lnTo>
                  <a:pt x="224983" y="101333"/>
                </a:lnTo>
                <a:close/>
                <a:moveTo>
                  <a:pt x="152859" y="0"/>
                </a:moveTo>
                <a:cubicBezTo>
                  <a:pt x="237281" y="0"/>
                  <a:pt x="305718" y="68437"/>
                  <a:pt x="305718" y="152859"/>
                </a:cubicBezTo>
                <a:cubicBezTo>
                  <a:pt x="305718" y="237281"/>
                  <a:pt x="237281" y="305718"/>
                  <a:pt x="152859" y="305718"/>
                </a:cubicBezTo>
                <a:cubicBezTo>
                  <a:pt x="68437" y="305718"/>
                  <a:pt x="0" y="237281"/>
                  <a:pt x="0" y="152859"/>
                </a:cubicBezTo>
                <a:cubicBezTo>
                  <a:pt x="0" y="68437"/>
                  <a:pt x="68437" y="0"/>
                  <a:pt x="152859" y="0"/>
                </a:cubicBez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1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67F4D057-0411-44BE-9A34-9F6F4E68953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6709" y="351026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F743CF8-DD56-4E9A-882F-021EF52CEEF1}"/>
              </a:ext>
            </a:extLst>
          </p:cNvPr>
          <p:cNvCxnSpPr/>
          <p:nvPr/>
        </p:nvCxnSpPr>
        <p:spPr>
          <a:xfrm>
            <a:off x="603376" y="4164118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620884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49721"/>
          </a:xfrm>
        </p:spPr>
        <p:txBody>
          <a:bodyPr>
            <a:normAutofit/>
          </a:bodyPr>
          <a:lstStyle>
            <a:lvl1pPr algn="l">
              <a:defRPr sz="2400">
                <a:latin typeface="HelveticaNeueLT Arabic 75 Bold" panose="020B0804020202020204" pitchFamily="34" charset="-78"/>
                <a:ea typeface="HelveticaNeueLT Arabic 75 Bold" panose="020B0804020202020204" pitchFamily="34" charset="-78"/>
                <a:cs typeface="HelveticaNeueLT Arabic 75 Bold" panose="020B0804020202020204" pitchFamily="34" charset="-7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9AC95E-8B57-44D7-AB5A-AA30827EB097}" type="datetime1">
              <a:rPr lang="id-ID" smtClean="0"/>
              <a:t>20/08/2025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grpSp>
        <p:nvGrpSpPr>
          <p:cNvPr id="3" name="Group 2"/>
          <p:cNvGrpSpPr/>
          <p:nvPr/>
        </p:nvGrpSpPr>
        <p:grpSpPr>
          <a:xfrm flipH="1">
            <a:off x="0" y="6116470"/>
            <a:ext cx="12192000" cy="756770"/>
            <a:chOff x="0" y="6116470"/>
            <a:chExt cx="12192000" cy="75677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0839B7B-1303-48E4-93E0-593AD68102DE}"/>
                </a:ext>
              </a:extLst>
            </p:cNvPr>
            <p:cNvSpPr/>
            <p:nvPr/>
          </p:nvSpPr>
          <p:spPr>
            <a:xfrm>
              <a:off x="0" y="6718300"/>
              <a:ext cx="12192000" cy="154940"/>
            </a:xfrm>
            <a:prstGeom prst="rect">
              <a:avLst/>
            </a:prstGeom>
            <a:solidFill>
              <a:srgbClr val="C1C1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B184FA1-6148-48F7-A021-D6B98DCDA9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663"/>
            <a:stretch/>
          </p:blipFill>
          <p:spPr>
            <a:xfrm flipH="1">
              <a:off x="8185109" y="6116470"/>
              <a:ext cx="4004148" cy="609031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BF03710-0E0F-4B0B-BFA1-60E8A0D4793B}"/>
                </a:ext>
              </a:extLst>
            </p:cNvPr>
            <p:cNvSpPr/>
            <p:nvPr/>
          </p:nvSpPr>
          <p:spPr>
            <a:xfrm>
              <a:off x="11056028" y="6613451"/>
              <a:ext cx="415743" cy="244549"/>
            </a:xfrm>
            <a:prstGeom prst="rect">
              <a:avLst/>
            </a:prstGeom>
            <a:solidFill>
              <a:srgbClr val="D8243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id-ID" sz="1801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728D879B-ECD1-403D-9F5D-62C50D47ED97}"/>
                </a:ext>
              </a:extLst>
            </p:cNvPr>
            <p:cNvGrpSpPr/>
            <p:nvPr/>
          </p:nvGrpSpPr>
          <p:grpSpPr>
            <a:xfrm>
              <a:off x="1213666" y="6215473"/>
              <a:ext cx="722175" cy="657767"/>
              <a:chOff x="9054324" y="6986116"/>
              <a:chExt cx="782356" cy="657767"/>
            </a:xfrm>
          </p:grpSpPr>
          <p:sp>
            <p:nvSpPr>
              <p:cNvPr id="13" name="Isosceles Triangle 23">
                <a:extLst>
                  <a:ext uri="{FF2B5EF4-FFF2-40B4-BE49-F238E27FC236}">
                    <a16:creationId xmlns:a16="http://schemas.microsoft.com/office/drawing/2014/main" id="{B1BE8E8B-4883-4405-A68F-A039C4ED4A3C}"/>
                  </a:ext>
                </a:extLst>
              </p:cNvPr>
              <p:cNvSpPr/>
              <p:nvPr/>
            </p:nvSpPr>
            <p:spPr>
              <a:xfrm flipV="1">
                <a:off x="9054324" y="7232685"/>
                <a:ext cx="782356" cy="411198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1662"/>
              </a:p>
            </p:txBody>
          </p:sp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69F83878-0C84-4835-9C22-EAF1ED7F9F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9173405" y="6986116"/>
                <a:ext cx="420010" cy="552179"/>
              </a:xfrm>
              <a:prstGeom prst="rect">
                <a:avLst/>
              </a:prstGeom>
            </p:spPr>
          </p:pic>
        </p:grp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8520" y="6553162"/>
            <a:ext cx="418486" cy="365125"/>
          </a:xfrm>
        </p:spPr>
        <p:txBody>
          <a:bodyPr/>
          <a:lstStyle>
            <a:lvl1pPr algn="ctr">
              <a:defRPr sz="1000">
                <a:solidFill>
                  <a:schemeClr val="bg1"/>
                </a:solidFill>
                <a:latin typeface="Nexa Light" charset="0"/>
                <a:ea typeface="Nexa Light" charset="0"/>
                <a:cs typeface="Nexa Light" charset="0"/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C2F6244-4702-45FC-A95C-55900A0EF428}"/>
              </a:ext>
            </a:extLst>
          </p:cNvPr>
          <p:cNvSpPr/>
          <p:nvPr/>
        </p:nvSpPr>
        <p:spPr>
          <a:xfrm>
            <a:off x="3908021" y="6662996"/>
            <a:ext cx="424537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SA" sz="1050" b="1" dirty="0">
                <a:solidFill>
                  <a:schemeClr val="bg1"/>
                </a:solidFill>
                <a:latin typeface="HelveticaNeueLT Arabic 75 Bold" panose="020B0804020202020204" pitchFamily="34" charset="-78"/>
                <a:cs typeface="HelveticaNeueLT Arabic 75 Bold" panose="020B0804020202020204" pitchFamily="34" charset="-78"/>
              </a:rPr>
              <a:t>هذه الوثيقة سرية ويحظر أي استخدام غير مصرح به بدون إذن من شركة كفاءة</a:t>
            </a:r>
            <a:endParaRPr lang="en-US" sz="10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4822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EFF27849-1CE7-45A0-B92C-432E103FD4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7A283D53-2887-47E9-962A-561EBB73F6F0}" type="datetime1">
              <a:rPr lang="id-ID" smtClean="0"/>
              <a:t>20/08/2025</a:t>
            </a:fld>
            <a:endParaRPr lang="id-ID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9DFC24AC-9660-438E-B4EF-665B4D9437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id-ID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E0D4E4A-59B4-4B30-91DC-B9FCE1197C47}"/>
              </a:ext>
            </a:extLst>
          </p:cNvPr>
          <p:cNvGrpSpPr/>
          <p:nvPr/>
        </p:nvGrpSpPr>
        <p:grpSpPr>
          <a:xfrm flipH="1">
            <a:off x="0" y="6116470"/>
            <a:ext cx="12192000" cy="756770"/>
            <a:chOff x="0" y="6116470"/>
            <a:chExt cx="12192000" cy="756770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55A6F2A-2BE2-4094-8673-F098DF7F1B6C}"/>
                </a:ext>
              </a:extLst>
            </p:cNvPr>
            <p:cNvSpPr/>
            <p:nvPr/>
          </p:nvSpPr>
          <p:spPr>
            <a:xfrm>
              <a:off x="0" y="6718300"/>
              <a:ext cx="12192000" cy="154940"/>
            </a:xfrm>
            <a:prstGeom prst="rect">
              <a:avLst/>
            </a:prstGeom>
            <a:solidFill>
              <a:srgbClr val="C1C1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F6947289-E464-4D6B-92FB-6AC1807B56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663"/>
            <a:stretch/>
          </p:blipFill>
          <p:spPr>
            <a:xfrm flipH="1">
              <a:off x="8185109" y="6116470"/>
              <a:ext cx="4004148" cy="609031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8307846-50D1-46C9-BB4F-5A5E624B0A29}"/>
                </a:ext>
              </a:extLst>
            </p:cNvPr>
            <p:cNvSpPr/>
            <p:nvPr/>
          </p:nvSpPr>
          <p:spPr>
            <a:xfrm>
              <a:off x="11056028" y="6613451"/>
              <a:ext cx="415743" cy="244549"/>
            </a:xfrm>
            <a:prstGeom prst="rect">
              <a:avLst/>
            </a:prstGeom>
            <a:solidFill>
              <a:srgbClr val="D8243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id-ID" sz="1801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0244F760-5689-4737-899E-4A3C3AE82542}"/>
                </a:ext>
              </a:extLst>
            </p:cNvPr>
            <p:cNvGrpSpPr/>
            <p:nvPr/>
          </p:nvGrpSpPr>
          <p:grpSpPr>
            <a:xfrm>
              <a:off x="1213666" y="6215473"/>
              <a:ext cx="722175" cy="657767"/>
              <a:chOff x="9054324" y="6986116"/>
              <a:chExt cx="782356" cy="657767"/>
            </a:xfrm>
          </p:grpSpPr>
          <p:sp>
            <p:nvSpPr>
              <p:cNvPr id="34" name="Isosceles Triangle 23">
                <a:extLst>
                  <a:ext uri="{FF2B5EF4-FFF2-40B4-BE49-F238E27FC236}">
                    <a16:creationId xmlns:a16="http://schemas.microsoft.com/office/drawing/2014/main" id="{C5A123B1-8C84-463F-9EF5-582FEB432C7E}"/>
                  </a:ext>
                </a:extLst>
              </p:cNvPr>
              <p:cNvSpPr/>
              <p:nvPr/>
            </p:nvSpPr>
            <p:spPr>
              <a:xfrm flipV="1">
                <a:off x="9054324" y="7232685"/>
                <a:ext cx="782356" cy="411198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1662"/>
              </a:p>
            </p:txBody>
          </p:sp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9D0FAD44-FA6C-43B1-9392-1AB92D0B4A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9173405" y="6986116"/>
                <a:ext cx="420010" cy="552179"/>
              </a:xfrm>
              <a:prstGeom prst="rect">
                <a:avLst/>
              </a:prstGeom>
            </p:spPr>
          </p:pic>
        </p:grpSp>
      </p:grp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28222A39-42C8-4C06-96A6-96409BE8A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88520" y="6553162"/>
            <a:ext cx="418486" cy="365125"/>
          </a:xfrm>
        </p:spPr>
        <p:txBody>
          <a:bodyPr/>
          <a:lstStyle>
            <a:lvl1pPr algn="ctr">
              <a:defRPr sz="1000">
                <a:solidFill>
                  <a:schemeClr val="bg1"/>
                </a:solidFill>
                <a:latin typeface="Nexa Light" charset="0"/>
                <a:ea typeface="Nexa Light" charset="0"/>
                <a:cs typeface="Nexa Light" charset="0"/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625148C-98F0-4805-9B8D-9F43F46950AC}"/>
              </a:ext>
            </a:extLst>
          </p:cNvPr>
          <p:cNvSpPr/>
          <p:nvPr/>
        </p:nvSpPr>
        <p:spPr>
          <a:xfrm>
            <a:off x="3908021" y="6662996"/>
            <a:ext cx="424537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SA" sz="1050" b="1" dirty="0">
                <a:solidFill>
                  <a:schemeClr val="bg1"/>
                </a:solidFill>
                <a:latin typeface="HelveticaNeueLT Arabic 75 Bold" panose="020B0804020202020204" pitchFamily="34" charset="-78"/>
                <a:cs typeface="HelveticaNeueLT Arabic 75 Bold" panose="020B0804020202020204" pitchFamily="34" charset="-78"/>
              </a:rPr>
              <a:t>هذه الوثيقة سرية ويحظر أي استخدام غير مصرح به بدون إذن من شركة كفاءة</a:t>
            </a:r>
            <a:endParaRPr lang="en-US" sz="10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277696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672"/>
          <a:stretch/>
        </p:blipFill>
        <p:spPr>
          <a:xfrm>
            <a:off x="-1" y="-1"/>
            <a:ext cx="10755567" cy="6858001"/>
          </a:xfrm>
          <a:custGeom>
            <a:avLst/>
            <a:gdLst>
              <a:gd name="connsiteX0" fmla="*/ 0 w 10755567"/>
              <a:gd name="connsiteY0" fmla="*/ 0 h 6858000"/>
              <a:gd name="connsiteX1" fmla="*/ 8634330 w 10755567"/>
              <a:gd name="connsiteY1" fmla="*/ 0 h 6858000"/>
              <a:gd name="connsiteX2" fmla="*/ 10284028 w 10755567"/>
              <a:gd name="connsiteY2" fmla="*/ 1653189 h 6858000"/>
              <a:gd name="connsiteX3" fmla="*/ 10284028 w 10755567"/>
              <a:gd name="connsiteY3" fmla="*/ 3934802 h 6858000"/>
              <a:gd name="connsiteX4" fmla="*/ 7367003 w 10755567"/>
              <a:gd name="connsiteY4" fmla="*/ 6858000 h 6858000"/>
              <a:gd name="connsiteX5" fmla="*/ 0 w 10755567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55567" h="6858000">
                <a:moveTo>
                  <a:pt x="0" y="0"/>
                </a:moveTo>
                <a:lnTo>
                  <a:pt x="8634330" y="0"/>
                </a:lnTo>
                <a:lnTo>
                  <a:pt x="10284028" y="1653189"/>
                </a:lnTo>
                <a:cubicBezTo>
                  <a:pt x="10912747" y="2283239"/>
                  <a:pt x="10912747" y="3304752"/>
                  <a:pt x="10284028" y="3934802"/>
                </a:cubicBezTo>
                <a:lnTo>
                  <a:pt x="736700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>
          <a:xfrm>
            <a:off x="0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72000">
                <a:srgbClr val="D82435">
                  <a:alpha val="11000"/>
                </a:srgbClr>
              </a:gs>
              <a:gs pos="13000">
                <a:srgbClr val="D8243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2263" y="5586149"/>
            <a:ext cx="2046606" cy="86970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10860" y="3883937"/>
            <a:ext cx="5537640" cy="919512"/>
          </a:xfrm>
        </p:spPr>
        <p:txBody>
          <a:bodyPr lIns="0" tIns="0" rIns="0" bIns="0" anchor="b">
            <a:normAutofit/>
          </a:bodyPr>
          <a:lstStyle>
            <a:lvl1pPr algn="l"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0860" y="5309150"/>
            <a:ext cx="5537640" cy="2769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d-ID"/>
          </a:p>
        </p:txBody>
      </p:sp>
      <p:cxnSp>
        <p:nvCxnSpPr>
          <p:cNvPr id="18" name="Straight Connector 17"/>
          <p:cNvCxnSpPr/>
          <p:nvPr/>
        </p:nvCxnSpPr>
        <p:spPr>
          <a:xfrm>
            <a:off x="1510860" y="5041836"/>
            <a:ext cx="97790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836472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509157"/>
            <a:ext cx="2743200" cy="154799"/>
          </a:xfrm>
        </p:spPr>
        <p:txBody>
          <a:bodyPr/>
          <a:lstStyle>
            <a:lvl1pPr>
              <a:defRPr sz="1000"/>
            </a:lvl1pPr>
          </a:lstStyle>
          <a:p>
            <a:fld id="{3BB05EDD-5E4B-4FE3-998C-B83B2C7DCF59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509157"/>
            <a:ext cx="4114800" cy="154800"/>
          </a:xfrm>
        </p:spPr>
        <p:txBody>
          <a:bodyPr lIns="0" tIns="0" rIns="0" bIns="0" anchor="ctr" anchorCtr="0"/>
          <a:lstStyle>
            <a:lvl1pPr algn="l"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372357"/>
            <a:ext cx="302400" cy="428400"/>
          </a:xfrm>
        </p:spPr>
        <p:txBody>
          <a:bodyPr lIns="0" tIns="0" rIns="0" bIns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734326" y="6751320"/>
            <a:ext cx="415743" cy="10668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734326" y="6269548"/>
            <a:ext cx="102816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83482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31000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509157"/>
            <a:ext cx="2743200" cy="154799"/>
          </a:xfrm>
        </p:spPr>
        <p:txBody>
          <a:bodyPr/>
          <a:lstStyle>
            <a:lvl1pPr>
              <a:defRPr sz="1000"/>
            </a:lvl1pPr>
          </a:lstStyle>
          <a:p>
            <a:fld id="{2A5003D9-BB5F-4B9D-9F79-2C6F12E53F20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509157"/>
            <a:ext cx="4114800" cy="154800"/>
          </a:xfrm>
        </p:spPr>
        <p:txBody>
          <a:bodyPr lIns="0" tIns="0" rIns="0" bIns="0" anchor="ctr" anchorCtr="0"/>
          <a:lstStyle>
            <a:lvl1pPr algn="l"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372357"/>
            <a:ext cx="302400" cy="428400"/>
          </a:xfrm>
        </p:spPr>
        <p:txBody>
          <a:bodyPr lIns="0" tIns="0" rIns="0" bIns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734326" y="6751320"/>
            <a:ext cx="415743" cy="10668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734326" y="6269548"/>
            <a:ext cx="102816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41716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13" name="Slide Number Placeholder 10"/>
          <p:cNvSpPr txBox="1">
            <a:spLocks/>
          </p:cNvSpPr>
          <p:nvPr/>
        </p:nvSpPr>
        <p:spPr>
          <a:xfrm>
            <a:off x="791332" y="6697844"/>
            <a:ext cx="302400" cy="123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20" name="Rectangle 19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734326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/>
          </a:p>
        </p:txBody>
      </p:sp>
      <p:sp>
        <p:nvSpPr>
          <p:cNvPr id="24" name="Isosceles Triangle 23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9"/>
            <a:ext cx="2743200" cy="154799"/>
          </a:xfrm>
        </p:spPr>
        <p:txBody>
          <a:bodyPr tIns="36000" bIns="36000"/>
          <a:lstStyle>
            <a:lvl1pPr rtl="0">
              <a:defRPr sz="700">
                <a:solidFill>
                  <a:srgbClr val="D82435"/>
                </a:solidFill>
              </a:defRPr>
            </a:lvl1pPr>
          </a:lstStyle>
          <a:p>
            <a:fld id="{589C7003-CC08-47D2-B12C-75768CE9028A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721758"/>
            <a:ext cx="4114800" cy="154800"/>
          </a:xfrm>
        </p:spPr>
        <p:txBody>
          <a:bodyPr lIns="0" tIns="36000" rIns="0" bIns="36000" anchor="ctr" anchorCtr="0"/>
          <a:lstStyle>
            <a:lvl1pPr algn="l" rtl="0">
              <a:defRPr sz="70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lIns="0" tIns="36000" rIns="0" bIns="36000">
            <a:noAutofit/>
          </a:bodyPr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25662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10"/>
          <p:cNvSpPr txBox="1">
            <a:spLocks/>
          </p:cNvSpPr>
          <p:nvPr/>
        </p:nvSpPr>
        <p:spPr>
          <a:xfrm>
            <a:off x="791332" y="6697844"/>
            <a:ext cx="302400" cy="123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1" name="Rectangle 10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734326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/>
          </a:p>
        </p:txBody>
      </p:sp>
      <p:sp>
        <p:nvSpPr>
          <p:cNvPr id="16" name="Isosceles Triangle 15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vert="horz" lIns="0" tIns="36000" rIns="0" bIns="36000" rtlCol="0" anchor="ctr">
            <a:noAutofit/>
          </a:bodyPr>
          <a:lstStyle>
            <a:lvl1pPr algn="ctr">
              <a:defRPr lang="id-ID" sz="700" smtClean="0">
                <a:solidFill>
                  <a:schemeClr val="bg1"/>
                </a:solidFill>
                <a:latin typeface="+mj-lt"/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8"/>
            <a:ext cx="2743200" cy="154799"/>
          </a:xfrm>
        </p:spPr>
        <p:txBody>
          <a:bodyPr vert="horz" lIns="91440" tIns="36000" rIns="91440" bIns="36000" rtlCol="0" anchor="ctr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fld id="{61D0D800-0687-4D97-A8B4-DBE4A6C1A1B2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721758"/>
            <a:ext cx="4114800" cy="154800"/>
          </a:xfrm>
        </p:spPr>
        <p:txBody>
          <a:bodyPr vert="horz" lIns="0" tIns="36000" rIns="0" bIns="36000" rtlCol="0" anchor="ctr" anchorCtr="0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0956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1CF7ECE-168F-4A1D-891E-5479314AA79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2A8495-68FC-463B-B919-DBE944FDC4F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220" y="6109144"/>
            <a:ext cx="1073080" cy="45540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8C90FB-41A3-4D31-A98A-54BD8CDC5ECA}"/>
              </a:ext>
            </a:extLst>
          </p:cNvPr>
          <p:cNvCxnSpPr/>
          <p:nvPr/>
        </p:nvCxnSpPr>
        <p:spPr>
          <a:xfrm>
            <a:off x="606753" y="4158152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DAEAB580-381E-4386-BE1F-08C9B0865525}"/>
              </a:ext>
            </a:extLst>
          </p:cNvPr>
          <p:cNvSpPr txBox="1">
            <a:spLocks/>
          </p:cNvSpPr>
          <p:nvPr/>
        </p:nvSpPr>
        <p:spPr>
          <a:xfrm>
            <a:off x="551738" y="3442527"/>
            <a:ext cx="1783689" cy="4555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200"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3B88249-034E-4263-B3AA-175A5A181DC1}"/>
              </a:ext>
            </a:extLst>
          </p:cNvPr>
          <p:cNvSpPr/>
          <p:nvPr/>
        </p:nvSpPr>
        <p:spPr>
          <a:xfrm>
            <a:off x="3843231" y="1797428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4C7FB18-2F04-4A08-9F70-6467527158CA}"/>
              </a:ext>
            </a:extLst>
          </p:cNvPr>
          <p:cNvGrpSpPr/>
          <p:nvPr/>
        </p:nvGrpSpPr>
        <p:grpSpPr>
          <a:xfrm>
            <a:off x="3115279" y="1520122"/>
            <a:ext cx="3346310" cy="4207061"/>
            <a:chOff x="770400" y="1325470"/>
            <a:chExt cx="8475203" cy="4207061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3F560F9-70FC-4980-9E87-639680B54FAC}"/>
                </a:ext>
              </a:extLst>
            </p:cNvPr>
            <p:cNvCxnSpPr/>
            <p:nvPr/>
          </p:nvCxnSpPr>
          <p:spPr>
            <a:xfrm flipV="1">
              <a:off x="770400" y="2166881"/>
              <a:ext cx="8475203" cy="1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5DD9EBB-9C63-4E24-A7BE-7B8D25019404}"/>
                </a:ext>
              </a:extLst>
            </p:cNvPr>
            <p:cNvCxnSpPr/>
            <p:nvPr/>
          </p:nvCxnSpPr>
          <p:spPr>
            <a:xfrm flipV="1">
              <a:off x="770400" y="1325470"/>
              <a:ext cx="8475203" cy="1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9A4B4F4-DC2F-4002-AF74-938C3E134A68}"/>
                </a:ext>
              </a:extLst>
            </p:cNvPr>
            <p:cNvCxnSpPr/>
            <p:nvPr/>
          </p:nvCxnSpPr>
          <p:spPr>
            <a:xfrm flipV="1">
              <a:off x="770400" y="3008292"/>
              <a:ext cx="8475203" cy="1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327A713-35CF-4136-89FA-E0F15A2BAEA2}"/>
                </a:ext>
              </a:extLst>
            </p:cNvPr>
            <p:cNvCxnSpPr/>
            <p:nvPr/>
          </p:nvCxnSpPr>
          <p:spPr>
            <a:xfrm flipV="1">
              <a:off x="770400" y="3849703"/>
              <a:ext cx="8475203" cy="1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CB070B4-38D3-47D7-B945-E6C979FB75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0400" y="4691114"/>
              <a:ext cx="8475203" cy="1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F98F903-D846-4E71-B62E-774507F214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0400" y="5532530"/>
              <a:ext cx="8475203" cy="1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1471D17F-0F1F-4BDC-AF2B-0CEA53388D48}"/>
              </a:ext>
            </a:extLst>
          </p:cNvPr>
          <p:cNvSpPr/>
          <p:nvPr/>
        </p:nvSpPr>
        <p:spPr>
          <a:xfrm flipH="1">
            <a:off x="3132173" y="1720798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1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A2EA517-D106-43D0-B9B6-F1B9DEA9E738}"/>
              </a:ext>
            </a:extLst>
          </p:cNvPr>
          <p:cNvSpPr/>
          <p:nvPr/>
        </p:nvSpPr>
        <p:spPr>
          <a:xfrm flipH="1">
            <a:off x="3132173" y="2554974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2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84DEB81-D8B5-4800-A1D5-3826904112C1}"/>
              </a:ext>
            </a:extLst>
          </p:cNvPr>
          <p:cNvSpPr/>
          <p:nvPr/>
        </p:nvSpPr>
        <p:spPr>
          <a:xfrm flipH="1">
            <a:off x="3132173" y="3398741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3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E20072AB-CA48-4E8B-8C45-BCA6153262D1}"/>
              </a:ext>
            </a:extLst>
          </p:cNvPr>
          <p:cNvSpPr/>
          <p:nvPr/>
        </p:nvSpPr>
        <p:spPr>
          <a:xfrm flipH="1">
            <a:off x="3132173" y="4243501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4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C773852-3D25-4422-9DE5-776A01CC9250}"/>
              </a:ext>
            </a:extLst>
          </p:cNvPr>
          <p:cNvSpPr/>
          <p:nvPr/>
        </p:nvSpPr>
        <p:spPr>
          <a:xfrm flipH="1">
            <a:off x="3132173" y="5101415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5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5705B3E-FDC3-482A-A339-7F115EC32C88}"/>
              </a:ext>
            </a:extLst>
          </p:cNvPr>
          <p:cNvSpPr/>
          <p:nvPr/>
        </p:nvSpPr>
        <p:spPr>
          <a:xfrm>
            <a:off x="3843231" y="2631604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12DEF19-AD32-4C28-95CA-71564C365ABD}"/>
              </a:ext>
            </a:extLst>
          </p:cNvPr>
          <p:cNvSpPr/>
          <p:nvPr/>
        </p:nvSpPr>
        <p:spPr>
          <a:xfrm>
            <a:off x="3843231" y="3475371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9FFBDF9-F09F-47E8-9831-F4F2DA5661A1}"/>
              </a:ext>
            </a:extLst>
          </p:cNvPr>
          <p:cNvSpPr/>
          <p:nvPr/>
        </p:nvSpPr>
        <p:spPr>
          <a:xfrm>
            <a:off x="3843231" y="4320131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7ABB0D3-04BE-4281-BBC9-E3CE7068D56E}"/>
              </a:ext>
            </a:extLst>
          </p:cNvPr>
          <p:cNvSpPr/>
          <p:nvPr/>
        </p:nvSpPr>
        <p:spPr>
          <a:xfrm>
            <a:off x="3843231" y="5178045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4D947F8-C248-43D8-B6BF-192F1FFB23FF}"/>
              </a:ext>
            </a:extLst>
          </p:cNvPr>
          <p:cNvSpPr/>
          <p:nvPr/>
        </p:nvSpPr>
        <p:spPr>
          <a:xfrm>
            <a:off x="7812527" y="1797428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ACC72A39-593C-4252-89D0-84EB803D5674}"/>
              </a:ext>
            </a:extLst>
          </p:cNvPr>
          <p:cNvGrpSpPr/>
          <p:nvPr/>
        </p:nvGrpSpPr>
        <p:grpSpPr>
          <a:xfrm>
            <a:off x="7084575" y="1520122"/>
            <a:ext cx="3346310" cy="4207061"/>
            <a:chOff x="770400" y="1325470"/>
            <a:chExt cx="8475203" cy="4207061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2E2618F3-382F-4371-94AB-1BA9B0B1C065}"/>
                </a:ext>
              </a:extLst>
            </p:cNvPr>
            <p:cNvCxnSpPr/>
            <p:nvPr/>
          </p:nvCxnSpPr>
          <p:spPr>
            <a:xfrm flipV="1">
              <a:off x="770400" y="2166881"/>
              <a:ext cx="8475203" cy="1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E3A56B6D-E573-4CC1-A2E9-B8A56D4ACB9B}"/>
                </a:ext>
              </a:extLst>
            </p:cNvPr>
            <p:cNvCxnSpPr/>
            <p:nvPr/>
          </p:nvCxnSpPr>
          <p:spPr>
            <a:xfrm flipV="1">
              <a:off x="770400" y="1325470"/>
              <a:ext cx="8475203" cy="1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39983943-D2DD-4754-B812-A6B466D5976F}"/>
                </a:ext>
              </a:extLst>
            </p:cNvPr>
            <p:cNvCxnSpPr/>
            <p:nvPr/>
          </p:nvCxnSpPr>
          <p:spPr>
            <a:xfrm flipV="1">
              <a:off x="770400" y="3008292"/>
              <a:ext cx="8475203" cy="1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F063CD5B-4EE2-421F-9F01-3B5582F5CEB3}"/>
                </a:ext>
              </a:extLst>
            </p:cNvPr>
            <p:cNvCxnSpPr/>
            <p:nvPr/>
          </p:nvCxnSpPr>
          <p:spPr>
            <a:xfrm flipV="1">
              <a:off x="770400" y="3849703"/>
              <a:ext cx="8475203" cy="1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BDDEBCF3-7A00-45D0-8EE5-67DA6A880E9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0400" y="4691114"/>
              <a:ext cx="8475203" cy="1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B7BFBB52-318E-41C2-989D-54A8C70DC33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0400" y="5532530"/>
              <a:ext cx="8475203" cy="1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Oval 64">
            <a:extLst>
              <a:ext uri="{FF2B5EF4-FFF2-40B4-BE49-F238E27FC236}">
                <a16:creationId xmlns:a16="http://schemas.microsoft.com/office/drawing/2014/main" id="{BFF80ABC-CBA1-40DD-A785-D471C11603B8}"/>
              </a:ext>
            </a:extLst>
          </p:cNvPr>
          <p:cNvSpPr/>
          <p:nvPr/>
        </p:nvSpPr>
        <p:spPr>
          <a:xfrm flipH="1">
            <a:off x="7101469" y="1720798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6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82C48D6A-DE90-41E2-B2CF-31B1C1075307}"/>
              </a:ext>
            </a:extLst>
          </p:cNvPr>
          <p:cNvSpPr/>
          <p:nvPr/>
        </p:nvSpPr>
        <p:spPr>
          <a:xfrm flipH="1">
            <a:off x="7101469" y="2554974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7</a:t>
            </a: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BAFF4B22-7085-4DD6-8C68-9799700D26A6}"/>
              </a:ext>
            </a:extLst>
          </p:cNvPr>
          <p:cNvSpPr/>
          <p:nvPr/>
        </p:nvSpPr>
        <p:spPr>
          <a:xfrm flipH="1">
            <a:off x="7101469" y="3398741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8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6AA5C958-0A3D-442B-BDAE-85BF91D468F1}"/>
              </a:ext>
            </a:extLst>
          </p:cNvPr>
          <p:cNvSpPr/>
          <p:nvPr/>
        </p:nvSpPr>
        <p:spPr>
          <a:xfrm flipH="1">
            <a:off x="7101469" y="4243501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9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1A8210DC-CB89-440B-A18A-906C11DE9417}"/>
              </a:ext>
            </a:extLst>
          </p:cNvPr>
          <p:cNvSpPr/>
          <p:nvPr/>
        </p:nvSpPr>
        <p:spPr>
          <a:xfrm flipH="1">
            <a:off x="7101469" y="5101415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10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F6E624B9-B5E3-46BC-8856-29BBC7EB158D}"/>
              </a:ext>
            </a:extLst>
          </p:cNvPr>
          <p:cNvSpPr/>
          <p:nvPr/>
        </p:nvSpPr>
        <p:spPr>
          <a:xfrm>
            <a:off x="7812527" y="2631604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3C67838-F7C1-4ABF-8ED2-BF55AE2B7DD2}"/>
              </a:ext>
            </a:extLst>
          </p:cNvPr>
          <p:cNvSpPr/>
          <p:nvPr/>
        </p:nvSpPr>
        <p:spPr>
          <a:xfrm>
            <a:off x="7812527" y="3475371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5513304A-FBED-4F30-B963-AFDD3811493B}"/>
              </a:ext>
            </a:extLst>
          </p:cNvPr>
          <p:cNvSpPr/>
          <p:nvPr/>
        </p:nvSpPr>
        <p:spPr>
          <a:xfrm>
            <a:off x="7812527" y="4320131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CE658EB9-0FDC-4F75-AD31-7D2CECCB333C}"/>
              </a:ext>
            </a:extLst>
          </p:cNvPr>
          <p:cNvSpPr/>
          <p:nvPr/>
        </p:nvSpPr>
        <p:spPr>
          <a:xfrm>
            <a:off x="7812527" y="5178045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42" name="Footer Placeholder 4">
            <a:extLst>
              <a:ext uri="{FF2B5EF4-FFF2-40B4-BE49-F238E27FC236}">
                <a16:creationId xmlns:a16="http://schemas.microsoft.com/office/drawing/2014/main" id="{05391945-27E2-403F-A98A-D65B2D2D2560}"/>
              </a:ext>
            </a:extLst>
          </p:cNvPr>
          <p:cNvSpPr txBox="1">
            <a:spLocks/>
          </p:cNvSpPr>
          <p:nvPr/>
        </p:nvSpPr>
        <p:spPr>
          <a:xfrm>
            <a:off x="11295586" y="319088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CONFIDINTIAL</a:t>
            </a:r>
          </a:p>
        </p:txBody>
      </p:sp>
    </p:spTree>
    <p:extLst>
      <p:ext uri="{BB962C8B-B14F-4D97-AF65-F5344CB8AC3E}">
        <p14:creationId xmlns:p14="http://schemas.microsoft.com/office/powerpoint/2010/main" val="80262552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31A71235-3D94-BE4C-8C7D-2413AFB66234}"/>
              </a:ext>
            </a:extLst>
          </p:cNvPr>
          <p:cNvSpPr/>
          <p:nvPr/>
        </p:nvSpPr>
        <p:spPr>
          <a:xfrm>
            <a:off x="1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0" name="Slide Number Placeholder 10"/>
          <p:cNvSpPr txBox="1">
            <a:spLocks/>
          </p:cNvSpPr>
          <p:nvPr/>
        </p:nvSpPr>
        <p:spPr>
          <a:xfrm>
            <a:off x="791332" y="6697844"/>
            <a:ext cx="302400" cy="123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1" name="Rectangle 10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734326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/>
          </a:p>
        </p:txBody>
      </p:sp>
      <p:sp>
        <p:nvSpPr>
          <p:cNvPr id="16" name="Isosceles Triangle 15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vert="horz" lIns="0" tIns="36000" rIns="0" bIns="36000" rtlCol="0" anchor="ctr">
            <a:noAutofit/>
          </a:bodyPr>
          <a:lstStyle>
            <a:lvl1pPr algn="ctr">
              <a:defRPr lang="id-ID" sz="700" b="1" i="0" smtClean="0">
                <a:solidFill>
                  <a:schemeClr val="bg1"/>
                </a:solidFill>
                <a:latin typeface="Nexa Bold" panose="02000000000000000000" pitchFamily="2" charset="0"/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8"/>
            <a:ext cx="2743200" cy="154799"/>
          </a:xfrm>
        </p:spPr>
        <p:txBody>
          <a:bodyPr vert="horz" lIns="91440" tIns="36000" rIns="91440" bIns="36000" rtlCol="0" anchor="ctr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fld id="{552443C4-6E3F-4432-9488-2892648BEA4A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721758"/>
            <a:ext cx="4114800" cy="154800"/>
          </a:xfrm>
        </p:spPr>
        <p:txBody>
          <a:bodyPr vert="horz" lIns="0" tIns="36000" rIns="0" bIns="36000" rtlCol="0" anchor="ctr" anchorCtr="0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624181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1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8474" y="5715000"/>
            <a:ext cx="2046606" cy="869703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730250" y="2463800"/>
            <a:ext cx="977900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250" y="2708275"/>
            <a:ext cx="8748224" cy="664797"/>
          </a:xfrm>
        </p:spPr>
        <p:txBody>
          <a:bodyPr lIns="0" tIns="0" rIns="0" bIns="0" anchor="t">
            <a:spAutoFit/>
          </a:bodyPr>
          <a:lstStyle>
            <a:lvl1pPr>
              <a:defRPr sz="4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0250" y="3671889"/>
            <a:ext cx="7080250" cy="455611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00">
                <a:solidFill>
                  <a:srgbClr val="D8243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333332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12192000" cy="6858001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70D1F5-6056-4775-A369-6F1A75ADF7E5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0" y="-1"/>
            <a:ext cx="12192000" cy="6858000"/>
            <a:chOff x="0" y="0"/>
            <a:chExt cx="12192000" cy="6858000"/>
          </a:xfrm>
        </p:grpSpPr>
        <p:sp>
          <p:nvSpPr>
            <p:cNvPr id="7" name="Freeform 6"/>
            <p:cNvSpPr/>
            <p:nvPr/>
          </p:nvSpPr>
          <p:spPr>
            <a:xfrm>
              <a:off x="1" y="0"/>
              <a:ext cx="10755567" cy="6858000"/>
            </a:xfrm>
            <a:custGeom>
              <a:avLst/>
              <a:gdLst>
                <a:gd name="connsiteX0" fmla="*/ 0 w 10778328"/>
                <a:gd name="connsiteY0" fmla="*/ 0 h 6858000"/>
                <a:gd name="connsiteX1" fmla="*/ 8652602 w 10778328"/>
                <a:gd name="connsiteY1" fmla="*/ 0 h 6858000"/>
                <a:gd name="connsiteX2" fmla="*/ 10305791 w 10778328"/>
                <a:gd name="connsiteY2" fmla="*/ 1653189 h 6858000"/>
                <a:gd name="connsiteX3" fmla="*/ 10305791 w 10778328"/>
                <a:gd name="connsiteY3" fmla="*/ 3934802 h 6858000"/>
                <a:gd name="connsiteX4" fmla="*/ 7382593 w 10778328"/>
                <a:gd name="connsiteY4" fmla="*/ 6858000 h 6858000"/>
                <a:gd name="connsiteX5" fmla="*/ 0 w 10778328"/>
                <a:gd name="connsiteY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78328" h="6858000">
                  <a:moveTo>
                    <a:pt x="0" y="0"/>
                  </a:moveTo>
                  <a:lnTo>
                    <a:pt x="8652602" y="0"/>
                  </a:lnTo>
                  <a:lnTo>
                    <a:pt x="10305791" y="1653189"/>
                  </a:lnTo>
                  <a:cubicBezTo>
                    <a:pt x="10935841" y="2283239"/>
                    <a:pt x="10935841" y="3304752"/>
                    <a:pt x="10305791" y="3934802"/>
                  </a:cubicBezTo>
                  <a:lnTo>
                    <a:pt x="7382593" y="6858000"/>
                  </a:lnTo>
                  <a:lnTo>
                    <a:pt x="0" y="6858000"/>
                  </a:lnTo>
                  <a:close/>
                </a:path>
              </a:pathLst>
            </a:custGeom>
            <a:gradFill>
              <a:gsLst>
                <a:gs pos="80000">
                  <a:schemeClr val="bg1"/>
                </a:gs>
                <a:gs pos="21000">
                  <a:schemeClr val="bg1">
                    <a:alpha val="44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8" name="Freeform 7"/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>
                <a:gd name="connsiteX0" fmla="*/ 86343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7367004 w 12192000"/>
                <a:gd name="connsiteY3" fmla="*/ 6858000 h 6858000"/>
                <a:gd name="connsiteX4" fmla="*/ 10284029 w 12192000"/>
                <a:gd name="connsiteY4" fmla="*/ 3934802 h 6858000"/>
                <a:gd name="connsiteX5" fmla="*/ 10284029 w 12192000"/>
                <a:gd name="connsiteY5" fmla="*/ 1653189 h 6858000"/>
                <a:gd name="connsiteX6" fmla="*/ 0 w 12192000"/>
                <a:gd name="connsiteY6" fmla="*/ 0 h 6858000"/>
                <a:gd name="connsiteX7" fmla="*/ 1 w 12192000"/>
                <a:gd name="connsiteY7" fmla="*/ 0 h 6858000"/>
                <a:gd name="connsiteX8" fmla="*/ 1 w 12192000"/>
                <a:gd name="connsiteY8" fmla="*/ 6858000 h 6858000"/>
                <a:gd name="connsiteX9" fmla="*/ 0 w 12192000"/>
                <a:gd name="connsiteY9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92000" h="6858000">
                  <a:moveTo>
                    <a:pt x="8634331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7367004" y="6858000"/>
                  </a:lnTo>
                  <a:lnTo>
                    <a:pt x="10284029" y="3934802"/>
                  </a:lnTo>
                  <a:cubicBezTo>
                    <a:pt x="10912748" y="3304752"/>
                    <a:pt x="10912748" y="2283239"/>
                    <a:pt x="10284029" y="1653189"/>
                  </a:cubicBezTo>
                  <a:close/>
                  <a:moveTo>
                    <a:pt x="0" y="0"/>
                  </a:moveTo>
                  <a:lnTo>
                    <a:pt x="1" y="0"/>
                  </a:lnTo>
                  <a:lnTo>
                    <a:pt x="1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72000">
                  <a:srgbClr val="D82435">
                    <a:alpha val="11000"/>
                  </a:srgbClr>
                </a:gs>
                <a:gs pos="13000">
                  <a:srgbClr val="D82435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900" y="664021"/>
            <a:ext cx="2814433" cy="119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70844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542702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6">
            <a:extLst>
              <a:ext uri="{FF2B5EF4-FFF2-40B4-BE49-F238E27FC236}">
                <a16:creationId xmlns:a16="http://schemas.microsoft.com/office/drawing/2014/main" id="{A9E1E493-8350-430A-877B-88213893A13A}"/>
              </a:ext>
            </a:extLst>
          </p:cNvPr>
          <p:cNvSpPr/>
          <p:nvPr/>
        </p:nvSpPr>
        <p:spPr>
          <a:xfrm>
            <a:off x="16735" y="0"/>
            <a:ext cx="8738898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2A8495-68FC-463B-B919-DBE944FDC4F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6914" y="5841308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B02EE97-7C08-42D0-AC49-C893539184F9}"/>
              </a:ext>
            </a:extLst>
          </p:cNvPr>
          <p:cNvCxnSpPr/>
          <p:nvPr/>
        </p:nvCxnSpPr>
        <p:spPr>
          <a:xfrm>
            <a:off x="275943" y="4164118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1">
            <a:extLst>
              <a:ext uri="{FF2B5EF4-FFF2-40B4-BE49-F238E27FC236}">
                <a16:creationId xmlns:a16="http://schemas.microsoft.com/office/drawing/2014/main" id="{82EEDA8E-A90A-4D44-825A-05C74F95F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461" y="2889205"/>
            <a:ext cx="8196108" cy="512448"/>
          </a:xfrm>
        </p:spPr>
        <p:txBody>
          <a:bodyPr vert="horz" wrap="square" lIns="0" tIns="0" rIns="0" bIns="0" rtlCol="0" anchor="t">
            <a:spAutoFit/>
          </a:bodyPr>
          <a:lstStyle>
            <a:lvl1pPr algn="l" rtl="1">
              <a:defRPr lang="en-US"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ABA04E7-C09E-472D-A5A0-6C553F17BE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8461" y="3654773"/>
            <a:ext cx="7886392" cy="364202"/>
          </a:xfrm>
        </p:spPr>
        <p:txBody>
          <a:bodyPr vert="horz" wrap="square" lIns="0" tIns="0" rIns="0" bIns="0" rtlCol="0">
            <a:spAutoFit/>
          </a:bodyPr>
          <a:lstStyle>
            <a:lvl1pPr marL="0" indent="0" algn="l" rtl="1">
              <a:buNone/>
              <a:defRPr lang="en-US" sz="1800" smtClean="0">
                <a:solidFill>
                  <a:srgbClr val="D82435"/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19457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672"/>
          <a:stretch/>
        </p:blipFill>
        <p:spPr>
          <a:xfrm>
            <a:off x="-1" y="-1"/>
            <a:ext cx="10755567" cy="6858001"/>
          </a:xfrm>
          <a:custGeom>
            <a:avLst/>
            <a:gdLst>
              <a:gd name="connsiteX0" fmla="*/ 0 w 10755567"/>
              <a:gd name="connsiteY0" fmla="*/ 0 h 6858000"/>
              <a:gd name="connsiteX1" fmla="*/ 8634330 w 10755567"/>
              <a:gd name="connsiteY1" fmla="*/ 0 h 6858000"/>
              <a:gd name="connsiteX2" fmla="*/ 10284028 w 10755567"/>
              <a:gd name="connsiteY2" fmla="*/ 1653189 h 6858000"/>
              <a:gd name="connsiteX3" fmla="*/ 10284028 w 10755567"/>
              <a:gd name="connsiteY3" fmla="*/ 3934802 h 6858000"/>
              <a:gd name="connsiteX4" fmla="*/ 7367003 w 10755567"/>
              <a:gd name="connsiteY4" fmla="*/ 6858000 h 6858000"/>
              <a:gd name="connsiteX5" fmla="*/ 0 w 10755567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55567" h="6858000">
                <a:moveTo>
                  <a:pt x="0" y="0"/>
                </a:moveTo>
                <a:lnTo>
                  <a:pt x="8634330" y="0"/>
                </a:lnTo>
                <a:lnTo>
                  <a:pt x="10284028" y="1653189"/>
                </a:lnTo>
                <a:cubicBezTo>
                  <a:pt x="10912747" y="2283239"/>
                  <a:pt x="10912747" y="3304752"/>
                  <a:pt x="10284028" y="3934802"/>
                </a:cubicBezTo>
                <a:lnTo>
                  <a:pt x="736700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>
          <a:xfrm>
            <a:off x="0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72000">
                <a:srgbClr val="D82435">
                  <a:alpha val="11000"/>
                </a:srgbClr>
              </a:gs>
              <a:gs pos="13000">
                <a:srgbClr val="D8243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2263" y="5586149"/>
            <a:ext cx="2046606" cy="86970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10860" y="3883937"/>
            <a:ext cx="5537640" cy="919512"/>
          </a:xfrm>
        </p:spPr>
        <p:txBody>
          <a:bodyPr lIns="0" tIns="0" rIns="0" bIns="0" anchor="b">
            <a:normAutofit/>
          </a:bodyPr>
          <a:lstStyle>
            <a:lvl1pPr algn="l"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0860" y="5309150"/>
            <a:ext cx="5537640" cy="2769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d-ID"/>
          </a:p>
        </p:txBody>
      </p:sp>
      <p:cxnSp>
        <p:nvCxnSpPr>
          <p:cNvPr id="18" name="Straight Connector 17"/>
          <p:cNvCxnSpPr/>
          <p:nvPr/>
        </p:nvCxnSpPr>
        <p:spPr>
          <a:xfrm>
            <a:off x="1510860" y="5041836"/>
            <a:ext cx="97790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155692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509157"/>
            <a:ext cx="2743200" cy="154799"/>
          </a:xfrm>
        </p:spPr>
        <p:txBody>
          <a:bodyPr/>
          <a:lstStyle>
            <a:lvl1pPr>
              <a:defRPr sz="1000"/>
            </a:lvl1pPr>
          </a:lstStyle>
          <a:p>
            <a:fld id="{F1C1F82D-239E-4AB6-A76C-A30EF63B517A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509157"/>
            <a:ext cx="4114800" cy="154800"/>
          </a:xfrm>
        </p:spPr>
        <p:txBody>
          <a:bodyPr lIns="0" tIns="0" rIns="0" bIns="0" anchor="ctr" anchorCtr="0"/>
          <a:lstStyle>
            <a:lvl1pPr algn="l"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372357"/>
            <a:ext cx="302400" cy="428400"/>
          </a:xfrm>
        </p:spPr>
        <p:txBody>
          <a:bodyPr lIns="0" tIns="0" rIns="0" bIns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734326" y="6751320"/>
            <a:ext cx="415743" cy="10668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734326" y="6269548"/>
            <a:ext cx="102816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14287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56361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509157"/>
            <a:ext cx="2743200" cy="154799"/>
          </a:xfrm>
        </p:spPr>
        <p:txBody>
          <a:bodyPr/>
          <a:lstStyle>
            <a:lvl1pPr>
              <a:defRPr sz="1000"/>
            </a:lvl1pPr>
          </a:lstStyle>
          <a:p>
            <a:fld id="{C9C5E459-F53E-47EB-8789-88F7B5A26347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509157"/>
            <a:ext cx="4114800" cy="154800"/>
          </a:xfrm>
        </p:spPr>
        <p:txBody>
          <a:bodyPr lIns="0" tIns="0" rIns="0" bIns="0" anchor="ctr" anchorCtr="0"/>
          <a:lstStyle>
            <a:lvl1pPr algn="l"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372357"/>
            <a:ext cx="302400" cy="428400"/>
          </a:xfrm>
        </p:spPr>
        <p:txBody>
          <a:bodyPr lIns="0" tIns="0" rIns="0" bIns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734326" y="6751320"/>
            <a:ext cx="415743" cy="10668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734326" y="6269548"/>
            <a:ext cx="102816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65169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13" name="Slide Number Placeholder 10"/>
          <p:cNvSpPr txBox="1">
            <a:spLocks/>
          </p:cNvSpPr>
          <p:nvPr/>
        </p:nvSpPr>
        <p:spPr>
          <a:xfrm>
            <a:off x="791332" y="6697844"/>
            <a:ext cx="302400" cy="123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20" name="Rectangle 19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734326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/>
          </a:p>
        </p:txBody>
      </p:sp>
      <p:sp>
        <p:nvSpPr>
          <p:cNvPr id="24" name="Isosceles Triangle 23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9"/>
            <a:ext cx="2743200" cy="154799"/>
          </a:xfrm>
        </p:spPr>
        <p:txBody>
          <a:bodyPr tIns="36000" bIns="36000"/>
          <a:lstStyle>
            <a:lvl1pPr rtl="0">
              <a:defRPr sz="700">
                <a:solidFill>
                  <a:srgbClr val="D82435"/>
                </a:solidFill>
              </a:defRPr>
            </a:lvl1pPr>
          </a:lstStyle>
          <a:p>
            <a:fld id="{C31915E2-1717-40E0-9D6A-F951E4FCD829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721758"/>
            <a:ext cx="4114800" cy="154800"/>
          </a:xfrm>
        </p:spPr>
        <p:txBody>
          <a:bodyPr lIns="0" tIns="36000" rIns="0" bIns="36000" anchor="ctr" anchorCtr="0"/>
          <a:lstStyle>
            <a:lvl1pPr algn="l" rtl="0">
              <a:defRPr sz="70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lIns="0" tIns="36000" rIns="0" bIns="36000">
            <a:noAutofit/>
          </a:bodyPr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23422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1CF7ECE-168F-4A1D-891E-5479314AA79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3B88249-034E-4263-B3AA-175A5A181DC1}"/>
              </a:ext>
            </a:extLst>
          </p:cNvPr>
          <p:cNvSpPr/>
          <p:nvPr/>
        </p:nvSpPr>
        <p:spPr>
          <a:xfrm>
            <a:off x="3892658" y="1874573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3F560F9-70FC-4980-9E87-639680B54FAC}"/>
              </a:ext>
            </a:extLst>
          </p:cNvPr>
          <p:cNvCxnSpPr>
            <a:cxnSpLocks/>
          </p:cNvCxnSpPr>
          <p:nvPr/>
        </p:nvCxnSpPr>
        <p:spPr>
          <a:xfrm flipV="1">
            <a:off x="6289729" y="2007480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1471D17F-0F1F-4BDC-AF2B-0CEA53388D48}"/>
              </a:ext>
            </a:extLst>
          </p:cNvPr>
          <p:cNvSpPr/>
          <p:nvPr/>
        </p:nvSpPr>
        <p:spPr>
          <a:xfrm flipH="1">
            <a:off x="3181600" y="1797943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1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AC0DB41-25E3-4D72-8E13-57268B3BD14A}"/>
              </a:ext>
            </a:extLst>
          </p:cNvPr>
          <p:cNvSpPr/>
          <p:nvPr/>
        </p:nvSpPr>
        <p:spPr>
          <a:xfrm>
            <a:off x="8202827" y="1874573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02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A2BA25E-0EBA-4780-B760-C6E721831CAE}"/>
              </a:ext>
            </a:extLst>
          </p:cNvPr>
          <p:cNvSpPr/>
          <p:nvPr/>
        </p:nvSpPr>
        <p:spPr>
          <a:xfrm>
            <a:off x="3892658" y="2603167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B94C1CB-357C-47F9-B590-5F1BF5DA160C}"/>
              </a:ext>
            </a:extLst>
          </p:cNvPr>
          <p:cNvCxnSpPr>
            <a:cxnSpLocks/>
          </p:cNvCxnSpPr>
          <p:nvPr/>
        </p:nvCxnSpPr>
        <p:spPr>
          <a:xfrm flipV="1">
            <a:off x="6289729" y="2736074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id="{DFD15B59-1555-40DE-B6DE-446AE39D9C3E}"/>
              </a:ext>
            </a:extLst>
          </p:cNvPr>
          <p:cNvSpPr/>
          <p:nvPr/>
        </p:nvSpPr>
        <p:spPr>
          <a:xfrm flipH="1">
            <a:off x="3181600" y="2526537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2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906D322-1B2D-4A6C-8044-24426E441F6F}"/>
              </a:ext>
            </a:extLst>
          </p:cNvPr>
          <p:cNvSpPr/>
          <p:nvPr/>
        </p:nvSpPr>
        <p:spPr>
          <a:xfrm>
            <a:off x="8202827" y="2603167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09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75393E7-386B-4C0B-B826-FDA74970868C}"/>
              </a:ext>
            </a:extLst>
          </p:cNvPr>
          <p:cNvSpPr/>
          <p:nvPr/>
        </p:nvSpPr>
        <p:spPr>
          <a:xfrm>
            <a:off x="3892658" y="3408391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CC803F9-B113-41D6-97B2-23D14AAD09CE}"/>
              </a:ext>
            </a:extLst>
          </p:cNvPr>
          <p:cNvCxnSpPr>
            <a:cxnSpLocks/>
          </p:cNvCxnSpPr>
          <p:nvPr/>
        </p:nvCxnSpPr>
        <p:spPr>
          <a:xfrm flipV="1">
            <a:off x="6289729" y="3541298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AACB8F17-1054-4472-BA39-BDF142CA2935}"/>
              </a:ext>
            </a:extLst>
          </p:cNvPr>
          <p:cNvSpPr/>
          <p:nvPr/>
        </p:nvSpPr>
        <p:spPr>
          <a:xfrm flipH="1">
            <a:off x="3181600" y="3331761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3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B3635AC-764D-4DDA-8700-61E5703AD807}"/>
              </a:ext>
            </a:extLst>
          </p:cNvPr>
          <p:cNvSpPr/>
          <p:nvPr/>
        </p:nvSpPr>
        <p:spPr>
          <a:xfrm>
            <a:off x="8202827" y="3408391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10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AC8D26E-7435-4384-88FB-EA0C3DD3B3E6}"/>
              </a:ext>
            </a:extLst>
          </p:cNvPr>
          <p:cNvSpPr/>
          <p:nvPr/>
        </p:nvSpPr>
        <p:spPr>
          <a:xfrm>
            <a:off x="3892658" y="4211230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C9E4BEE1-B026-44DC-9994-CE8C1BD82331}"/>
              </a:ext>
            </a:extLst>
          </p:cNvPr>
          <p:cNvCxnSpPr>
            <a:cxnSpLocks/>
          </p:cNvCxnSpPr>
          <p:nvPr/>
        </p:nvCxnSpPr>
        <p:spPr>
          <a:xfrm flipV="1">
            <a:off x="6289729" y="4344137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65E04E8C-699C-4A3F-9609-CADEBAD36BE5}"/>
              </a:ext>
            </a:extLst>
          </p:cNvPr>
          <p:cNvSpPr/>
          <p:nvPr/>
        </p:nvSpPr>
        <p:spPr>
          <a:xfrm flipH="1">
            <a:off x="3181600" y="4134600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4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432525C1-0231-4C6D-9158-19373526434A}"/>
              </a:ext>
            </a:extLst>
          </p:cNvPr>
          <p:cNvSpPr/>
          <p:nvPr/>
        </p:nvSpPr>
        <p:spPr>
          <a:xfrm>
            <a:off x="8202827" y="4212178"/>
            <a:ext cx="320996" cy="26391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15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DD384EA-96D8-4D2C-ADCD-1C760E727635}"/>
              </a:ext>
            </a:extLst>
          </p:cNvPr>
          <p:cNvSpPr/>
          <p:nvPr/>
        </p:nvSpPr>
        <p:spPr>
          <a:xfrm>
            <a:off x="3892658" y="5014069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3E73B1CF-DFD0-49F9-B3CC-71D272219113}"/>
              </a:ext>
            </a:extLst>
          </p:cNvPr>
          <p:cNvCxnSpPr>
            <a:cxnSpLocks/>
          </p:cNvCxnSpPr>
          <p:nvPr/>
        </p:nvCxnSpPr>
        <p:spPr>
          <a:xfrm flipV="1">
            <a:off x="6289729" y="5146976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Oval 76">
            <a:extLst>
              <a:ext uri="{FF2B5EF4-FFF2-40B4-BE49-F238E27FC236}">
                <a16:creationId xmlns:a16="http://schemas.microsoft.com/office/drawing/2014/main" id="{2C0AE610-9574-4080-9A8F-B0CFC95D72F6}"/>
              </a:ext>
            </a:extLst>
          </p:cNvPr>
          <p:cNvSpPr/>
          <p:nvPr/>
        </p:nvSpPr>
        <p:spPr>
          <a:xfrm flipH="1">
            <a:off x="3181600" y="4937439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5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A867231-D8B2-4237-AF87-3DFBBB52A0CC}"/>
              </a:ext>
            </a:extLst>
          </p:cNvPr>
          <p:cNvSpPr/>
          <p:nvPr/>
        </p:nvSpPr>
        <p:spPr>
          <a:xfrm>
            <a:off x="8202827" y="5014069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20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90E03B71-463D-4439-A221-DFE09A29633D}"/>
              </a:ext>
            </a:extLst>
          </p:cNvPr>
          <p:cNvCxnSpPr/>
          <p:nvPr/>
        </p:nvCxnSpPr>
        <p:spPr>
          <a:xfrm>
            <a:off x="606753" y="4158152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itle 1">
            <a:extLst>
              <a:ext uri="{FF2B5EF4-FFF2-40B4-BE49-F238E27FC236}">
                <a16:creationId xmlns:a16="http://schemas.microsoft.com/office/drawing/2014/main" id="{72554050-8939-4582-96BF-449BEF10488C}"/>
              </a:ext>
            </a:extLst>
          </p:cNvPr>
          <p:cNvSpPr txBox="1">
            <a:spLocks/>
          </p:cNvSpPr>
          <p:nvPr/>
        </p:nvSpPr>
        <p:spPr>
          <a:xfrm>
            <a:off x="551738" y="3442527"/>
            <a:ext cx="1783689" cy="4555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200"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18A248D3-96FE-41CA-831F-67FB2678AAA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220" y="6109144"/>
            <a:ext cx="1073080" cy="455405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907BF56A-F40E-488F-818B-E13AA8A87343}"/>
              </a:ext>
            </a:extLst>
          </p:cNvPr>
          <p:cNvSpPr txBox="1">
            <a:spLocks/>
          </p:cNvSpPr>
          <p:nvPr/>
        </p:nvSpPr>
        <p:spPr>
          <a:xfrm>
            <a:off x="11295586" y="319088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CONFIDINTIAL</a:t>
            </a:r>
          </a:p>
        </p:txBody>
      </p:sp>
    </p:spTree>
    <p:extLst>
      <p:ext uri="{BB962C8B-B14F-4D97-AF65-F5344CB8AC3E}">
        <p14:creationId xmlns:p14="http://schemas.microsoft.com/office/powerpoint/2010/main" val="53062052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10"/>
          <p:cNvSpPr txBox="1">
            <a:spLocks/>
          </p:cNvSpPr>
          <p:nvPr/>
        </p:nvSpPr>
        <p:spPr>
          <a:xfrm>
            <a:off x="791332" y="6697844"/>
            <a:ext cx="302400" cy="123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1" name="Rectangle 10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734326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/>
          </a:p>
        </p:txBody>
      </p:sp>
      <p:sp>
        <p:nvSpPr>
          <p:cNvPr id="16" name="Isosceles Triangle 15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vert="horz" lIns="0" tIns="36000" rIns="0" bIns="36000" rtlCol="0" anchor="ctr">
            <a:noAutofit/>
          </a:bodyPr>
          <a:lstStyle>
            <a:lvl1pPr algn="ctr">
              <a:defRPr lang="id-ID" sz="700" smtClean="0">
                <a:solidFill>
                  <a:schemeClr val="bg1"/>
                </a:solidFill>
                <a:latin typeface="+mj-lt"/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8"/>
            <a:ext cx="2743200" cy="154799"/>
          </a:xfrm>
        </p:spPr>
        <p:txBody>
          <a:bodyPr vert="horz" lIns="91440" tIns="36000" rIns="91440" bIns="36000" rtlCol="0" anchor="ctr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fld id="{C550E5B0-1923-4CB2-A31D-71FF04E60AEC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721758"/>
            <a:ext cx="4114800" cy="154800"/>
          </a:xfrm>
        </p:spPr>
        <p:txBody>
          <a:bodyPr vert="horz" lIns="0" tIns="36000" rIns="0" bIns="36000" rtlCol="0" anchor="ctr" anchorCtr="0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381578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31A71235-3D94-BE4C-8C7D-2413AFB66234}"/>
              </a:ext>
            </a:extLst>
          </p:cNvPr>
          <p:cNvSpPr/>
          <p:nvPr/>
        </p:nvSpPr>
        <p:spPr>
          <a:xfrm>
            <a:off x="1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0" name="Slide Number Placeholder 10"/>
          <p:cNvSpPr txBox="1">
            <a:spLocks/>
          </p:cNvSpPr>
          <p:nvPr/>
        </p:nvSpPr>
        <p:spPr>
          <a:xfrm>
            <a:off x="791332" y="6697844"/>
            <a:ext cx="302400" cy="123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1" name="Rectangle 10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734326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/>
          </a:p>
        </p:txBody>
      </p:sp>
      <p:sp>
        <p:nvSpPr>
          <p:cNvPr id="16" name="Isosceles Triangle 15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vert="horz" lIns="0" tIns="36000" rIns="0" bIns="36000" rtlCol="0" anchor="ctr">
            <a:noAutofit/>
          </a:bodyPr>
          <a:lstStyle>
            <a:lvl1pPr algn="ctr">
              <a:defRPr lang="id-ID" sz="700" b="1" i="0" smtClean="0">
                <a:solidFill>
                  <a:schemeClr val="bg1"/>
                </a:solidFill>
                <a:latin typeface="Nexa Bold" panose="02000000000000000000" pitchFamily="2" charset="0"/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8"/>
            <a:ext cx="2743200" cy="154799"/>
          </a:xfrm>
        </p:spPr>
        <p:txBody>
          <a:bodyPr vert="horz" lIns="91440" tIns="36000" rIns="91440" bIns="36000" rtlCol="0" anchor="ctr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fld id="{6BCD04AE-376B-4801-9CBF-F09EC91E885A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721758"/>
            <a:ext cx="4114800" cy="154800"/>
          </a:xfrm>
        </p:spPr>
        <p:txBody>
          <a:bodyPr vert="horz" lIns="0" tIns="36000" rIns="0" bIns="36000" rtlCol="0" anchor="ctr" anchorCtr="0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00920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1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8474" y="5715000"/>
            <a:ext cx="2046606" cy="869703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730250" y="2463800"/>
            <a:ext cx="977900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250" y="2708275"/>
            <a:ext cx="8748224" cy="664797"/>
          </a:xfrm>
        </p:spPr>
        <p:txBody>
          <a:bodyPr lIns="0" tIns="0" rIns="0" bIns="0" anchor="t">
            <a:spAutoFit/>
          </a:bodyPr>
          <a:lstStyle>
            <a:lvl1pPr>
              <a:defRPr sz="4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0250" y="3671889"/>
            <a:ext cx="7080250" cy="455611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00">
                <a:solidFill>
                  <a:srgbClr val="D8243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103264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12192000" cy="6858001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5ADB5-7AC3-4F11-A285-9DEC80931877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0" y="-1"/>
            <a:ext cx="12192000" cy="6858000"/>
            <a:chOff x="0" y="0"/>
            <a:chExt cx="12192000" cy="6858000"/>
          </a:xfrm>
        </p:grpSpPr>
        <p:sp>
          <p:nvSpPr>
            <p:cNvPr id="7" name="Freeform 6"/>
            <p:cNvSpPr/>
            <p:nvPr/>
          </p:nvSpPr>
          <p:spPr>
            <a:xfrm>
              <a:off x="1" y="0"/>
              <a:ext cx="10755567" cy="6858000"/>
            </a:xfrm>
            <a:custGeom>
              <a:avLst/>
              <a:gdLst>
                <a:gd name="connsiteX0" fmla="*/ 0 w 10778328"/>
                <a:gd name="connsiteY0" fmla="*/ 0 h 6858000"/>
                <a:gd name="connsiteX1" fmla="*/ 8652602 w 10778328"/>
                <a:gd name="connsiteY1" fmla="*/ 0 h 6858000"/>
                <a:gd name="connsiteX2" fmla="*/ 10305791 w 10778328"/>
                <a:gd name="connsiteY2" fmla="*/ 1653189 h 6858000"/>
                <a:gd name="connsiteX3" fmla="*/ 10305791 w 10778328"/>
                <a:gd name="connsiteY3" fmla="*/ 3934802 h 6858000"/>
                <a:gd name="connsiteX4" fmla="*/ 7382593 w 10778328"/>
                <a:gd name="connsiteY4" fmla="*/ 6858000 h 6858000"/>
                <a:gd name="connsiteX5" fmla="*/ 0 w 10778328"/>
                <a:gd name="connsiteY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78328" h="6858000">
                  <a:moveTo>
                    <a:pt x="0" y="0"/>
                  </a:moveTo>
                  <a:lnTo>
                    <a:pt x="8652602" y="0"/>
                  </a:lnTo>
                  <a:lnTo>
                    <a:pt x="10305791" y="1653189"/>
                  </a:lnTo>
                  <a:cubicBezTo>
                    <a:pt x="10935841" y="2283239"/>
                    <a:pt x="10935841" y="3304752"/>
                    <a:pt x="10305791" y="3934802"/>
                  </a:cubicBezTo>
                  <a:lnTo>
                    <a:pt x="7382593" y="6858000"/>
                  </a:lnTo>
                  <a:lnTo>
                    <a:pt x="0" y="6858000"/>
                  </a:lnTo>
                  <a:close/>
                </a:path>
              </a:pathLst>
            </a:custGeom>
            <a:gradFill>
              <a:gsLst>
                <a:gs pos="80000">
                  <a:schemeClr val="bg1"/>
                </a:gs>
                <a:gs pos="21000">
                  <a:schemeClr val="bg1">
                    <a:alpha val="44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8" name="Freeform 7"/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>
                <a:gd name="connsiteX0" fmla="*/ 86343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7367004 w 12192000"/>
                <a:gd name="connsiteY3" fmla="*/ 6858000 h 6858000"/>
                <a:gd name="connsiteX4" fmla="*/ 10284029 w 12192000"/>
                <a:gd name="connsiteY4" fmla="*/ 3934802 h 6858000"/>
                <a:gd name="connsiteX5" fmla="*/ 10284029 w 12192000"/>
                <a:gd name="connsiteY5" fmla="*/ 1653189 h 6858000"/>
                <a:gd name="connsiteX6" fmla="*/ 0 w 12192000"/>
                <a:gd name="connsiteY6" fmla="*/ 0 h 6858000"/>
                <a:gd name="connsiteX7" fmla="*/ 1 w 12192000"/>
                <a:gd name="connsiteY7" fmla="*/ 0 h 6858000"/>
                <a:gd name="connsiteX8" fmla="*/ 1 w 12192000"/>
                <a:gd name="connsiteY8" fmla="*/ 6858000 h 6858000"/>
                <a:gd name="connsiteX9" fmla="*/ 0 w 12192000"/>
                <a:gd name="connsiteY9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92000" h="6858000">
                  <a:moveTo>
                    <a:pt x="8634331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7367004" y="6858000"/>
                  </a:lnTo>
                  <a:lnTo>
                    <a:pt x="10284029" y="3934802"/>
                  </a:lnTo>
                  <a:cubicBezTo>
                    <a:pt x="10912748" y="3304752"/>
                    <a:pt x="10912748" y="2283239"/>
                    <a:pt x="10284029" y="1653189"/>
                  </a:cubicBezTo>
                  <a:close/>
                  <a:moveTo>
                    <a:pt x="0" y="0"/>
                  </a:moveTo>
                  <a:lnTo>
                    <a:pt x="1" y="0"/>
                  </a:lnTo>
                  <a:lnTo>
                    <a:pt x="1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72000">
                  <a:srgbClr val="D82435">
                    <a:alpha val="11000"/>
                  </a:srgbClr>
                </a:gs>
                <a:gs pos="13000">
                  <a:srgbClr val="D82435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900" y="664021"/>
            <a:ext cx="2814433" cy="119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91736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640974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6">
            <a:extLst>
              <a:ext uri="{FF2B5EF4-FFF2-40B4-BE49-F238E27FC236}">
                <a16:creationId xmlns:a16="http://schemas.microsoft.com/office/drawing/2014/main" id="{A9E1E493-8350-430A-877B-88213893A13A}"/>
              </a:ext>
            </a:extLst>
          </p:cNvPr>
          <p:cNvSpPr/>
          <p:nvPr/>
        </p:nvSpPr>
        <p:spPr>
          <a:xfrm>
            <a:off x="16735" y="0"/>
            <a:ext cx="8738898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2A8495-68FC-463B-B919-DBE944FDC4F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6914" y="5841308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B02EE97-7C08-42D0-AC49-C893539184F9}"/>
              </a:ext>
            </a:extLst>
          </p:cNvPr>
          <p:cNvCxnSpPr/>
          <p:nvPr/>
        </p:nvCxnSpPr>
        <p:spPr>
          <a:xfrm>
            <a:off x="275943" y="4164118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1">
            <a:extLst>
              <a:ext uri="{FF2B5EF4-FFF2-40B4-BE49-F238E27FC236}">
                <a16:creationId xmlns:a16="http://schemas.microsoft.com/office/drawing/2014/main" id="{82EEDA8E-A90A-4D44-825A-05C74F95F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461" y="2889205"/>
            <a:ext cx="8196108" cy="512448"/>
          </a:xfrm>
        </p:spPr>
        <p:txBody>
          <a:bodyPr vert="horz" wrap="square" lIns="0" tIns="0" rIns="0" bIns="0" rtlCol="0" anchor="t">
            <a:spAutoFit/>
          </a:bodyPr>
          <a:lstStyle>
            <a:lvl1pPr algn="l" rtl="1">
              <a:defRPr lang="en-US"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ABA04E7-C09E-472D-A5A0-6C553F17BE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8461" y="3654773"/>
            <a:ext cx="7886392" cy="364202"/>
          </a:xfrm>
        </p:spPr>
        <p:txBody>
          <a:bodyPr vert="horz" wrap="square" lIns="0" tIns="0" rIns="0" bIns="0" rtlCol="0">
            <a:spAutoFit/>
          </a:bodyPr>
          <a:lstStyle>
            <a:lvl1pPr marL="0" indent="0" algn="l" rtl="1">
              <a:buNone/>
              <a:defRPr lang="en-US" sz="1800" smtClean="0">
                <a:solidFill>
                  <a:srgbClr val="D82435"/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291922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0144BA-EC9E-40AC-B081-81FA46BA18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E2827A-F23B-46EA-8FF8-4263E98408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AD5D0F-5B2F-49EE-A07A-09AAE815F7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0FCB3-EC20-444E-A650-C930B417B60F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363E97-49A3-4638-9329-CA98FA7077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DD7E44-F43E-4179-8CF2-AE23D9AED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2136E-98DB-4223-B01A-AE522A373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912566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9CA62A-1DB9-4996-912E-3930D5D73A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21D70A-4BF7-4805-8CCD-6C4E6F74D8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C68F69-3FAD-4F03-A3C2-48BFB2BC3E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5E8FE-CAD7-4DD3-BD44-6E83A6C0154D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3F84BA-967D-4C83-B555-F24ADBB84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F17EC7-2469-46A9-A17E-78BA31D01E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2136E-98DB-4223-B01A-AE522A373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724674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DF80A-CEAE-412B-8014-7F64CD6B3A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0BC39E-AC20-430E-9A00-A735F969E3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D66713-E57E-418D-806E-F4A01B0774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D09DC5-48F4-47E0-8059-9F900DE69067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065ECB-03FA-46E6-A239-800D2D87C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9F1A9D-5C7E-4663-AF56-BEEAB78541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2136E-98DB-4223-B01A-AE522A373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73173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EC09DF-1B8D-4A7B-A93C-65B745F56B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A22C64-9109-483F-9219-E90B1FF077C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F30F4C-7926-4E71-A54A-689245D604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5658E9-4043-4654-9BFB-4960000E76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4384B4-BAF7-4805-B9F4-974E4C8A815B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D31958-185E-49E3-8B6E-AAA8C2870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9B81EC-717E-45A9-8968-91600807B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2136E-98DB-4223-B01A-AE522A373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0905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1CF7ECE-168F-4A1D-891E-5479314AA799}"/>
              </a:ext>
            </a:extLst>
          </p:cNvPr>
          <p:cNvSpPr/>
          <p:nvPr/>
        </p:nvSpPr>
        <p:spPr>
          <a:xfrm>
            <a:off x="2532185" y="0"/>
            <a:ext cx="9659815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ECC9401-A349-40EA-AC59-F81E8377207A}"/>
              </a:ext>
            </a:extLst>
          </p:cNvPr>
          <p:cNvGrpSpPr/>
          <p:nvPr/>
        </p:nvGrpSpPr>
        <p:grpSpPr>
          <a:xfrm>
            <a:off x="3531620" y="1417047"/>
            <a:ext cx="3291211" cy="344006"/>
            <a:chOff x="1474778" y="1308534"/>
            <a:chExt cx="3291211" cy="34400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3B88249-034E-4263-B3AA-175A5A181DC1}"/>
                </a:ext>
              </a:extLst>
            </p:cNvPr>
            <p:cNvSpPr/>
            <p:nvPr/>
          </p:nvSpPr>
          <p:spPr>
            <a:xfrm>
              <a:off x="1888140" y="1386725"/>
              <a:ext cx="2877849" cy="265815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ID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exa Light" panose="02000000000000000000" pitchFamily="50" charset="0"/>
                </a:rPr>
                <a:t>Lorem ipsum dolor sit amet</a:t>
              </a:r>
            </a:p>
          </p:txBody>
        </p: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90E03B71-463D-4439-A221-DFE09A29633D}"/>
                </a:ext>
              </a:extLst>
            </p:cNvPr>
            <p:cNvCxnSpPr>
              <a:cxnSpLocks/>
            </p:cNvCxnSpPr>
            <p:nvPr/>
          </p:nvCxnSpPr>
          <p:spPr>
            <a:xfrm>
              <a:off x="1530301" y="1612347"/>
              <a:ext cx="209950" cy="0"/>
            </a:xfrm>
            <a:prstGeom prst="line">
              <a:avLst/>
            </a:prstGeom>
            <a:ln w="50800">
              <a:solidFill>
                <a:srgbClr val="D8243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5C80992-3C2F-4A61-B5F1-2A1A93513FA9}"/>
                </a:ext>
              </a:extLst>
            </p:cNvPr>
            <p:cNvSpPr/>
            <p:nvPr/>
          </p:nvSpPr>
          <p:spPr>
            <a:xfrm>
              <a:off x="1474778" y="1308534"/>
              <a:ext cx="320996" cy="30162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ID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exa Bold" panose="02000000000000000000" pitchFamily="50" charset="0"/>
                </a:rPr>
                <a:t>02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8412E132-A7BA-45EF-80B4-1E336CD4183A}"/>
              </a:ext>
            </a:extLst>
          </p:cNvPr>
          <p:cNvGrpSpPr/>
          <p:nvPr/>
        </p:nvGrpSpPr>
        <p:grpSpPr>
          <a:xfrm>
            <a:off x="3531620" y="2099522"/>
            <a:ext cx="3291211" cy="339395"/>
            <a:chOff x="1474778" y="1790531"/>
            <a:chExt cx="3291211" cy="339395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BA2BA25E-0EBA-4780-B760-C6E721831CAE}"/>
                </a:ext>
              </a:extLst>
            </p:cNvPr>
            <p:cNvSpPr/>
            <p:nvPr/>
          </p:nvSpPr>
          <p:spPr>
            <a:xfrm>
              <a:off x="1888140" y="1864111"/>
              <a:ext cx="2877849" cy="265815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ID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exa Light" panose="02000000000000000000" pitchFamily="50" charset="0"/>
                </a:rPr>
                <a:t>Lorem ipsum dolor sit amet</a:t>
              </a: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5FF7385-6E8F-43A7-BBE0-E29C3C64F301}"/>
                </a:ext>
              </a:extLst>
            </p:cNvPr>
            <p:cNvCxnSpPr>
              <a:cxnSpLocks/>
            </p:cNvCxnSpPr>
            <p:nvPr/>
          </p:nvCxnSpPr>
          <p:spPr>
            <a:xfrm>
              <a:off x="1530301" y="2094344"/>
              <a:ext cx="209950" cy="0"/>
            </a:xfrm>
            <a:prstGeom prst="line">
              <a:avLst/>
            </a:prstGeom>
            <a:ln w="50800">
              <a:solidFill>
                <a:srgbClr val="D8243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0917853E-A7DD-434E-8C6D-D8D7F68D078E}"/>
                </a:ext>
              </a:extLst>
            </p:cNvPr>
            <p:cNvSpPr/>
            <p:nvPr/>
          </p:nvSpPr>
          <p:spPr>
            <a:xfrm>
              <a:off x="1474778" y="1790531"/>
              <a:ext cx="320996" cy="30162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ID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exa Bold" panose="02000000000000000000" pitchFamily="50" charset="0"/>
                </a:rPr>
                <a:t>09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76C5A2D-373F-474D-8727-55B6F8597978}"/>
              </a:ext>
            </a:extLst>
          </p:cNvPr>
          <p:cNvGrpSpPr/>
          <p:nvPr/>
        </p:nvGrpSpPr>
        <p:grpSpPr>
          <a:xfrm>
            <a:off x="3531620" y="2777386"/>
            <a:ext cx="3291211" cy="344006"/>
            <a:chOff x="1474778" y="2430371"/>
            <a:chExt cx="3291211" cy="344006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75393E7-386B-4C0B-B826-FDA74970868C}"/>
                </a:ext>
              </a:extLst>
            </p:cNvPr>
            <p:cNvSpPr/>
            <p:nvPr/>
          </p:nvSpPr>
          <p:spPr>
            <a:xfrm>
              <a:off x="1888140" y="2508562"/>
              <a:ext cx="2877849" cy="265815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ID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exa Light" panose="02000000000000000000" pitchFamily="50" charset="0"/>
                </a:rPr>
                <a:t>Lorem ipsum dolor sit amet</a:t>
              </a: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7C78A87C-FA1C-4313-9F39-70EF328CA848}"/>
                </a:ext>
              </a:extLst>
            </p:cNvPr>
            <p:cNvCxnSpPr>
              <a:cxnSpLocks/>
            </p:cNvCxnSpPr>
            <p:nvPr/>
          </p:nvCxnSpPr>
          <p:spPr>
            <a:xfrm>
              <a:off x="1530301" y="2734184"/>
              <a:ext cx="209950" cy="0"/>
            </a:xfrm>
            <a:prstGeom prst="line">
              <a:avLst/>
            </a:prstGeom>
            <a:ln w="50800">
              <a:solidFill>
                <a:srgbClr val="D8243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9B14903-6FD1-4CBF-AB9C-888C495E70D0}"/>
                </a:ext>
              </a:extLst>
            </p:cNvPr>
            <p:cNvSpPr/>
            <p:nvPr/>
          </p:nvSpPr>
          <p:spPr>
            <a:xfrm>
              <a:off x="1474778" y="2430371"/>
              <a:ext cx="320996" cy="30162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ID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exa Bold" panose="02000000000000000000" pitchFamily="50" charset="0"/>
                </a:rPr>
                <a:t>10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4C903A5-471D-42EB-BBA3-0B0FB77B5401}"/>
              </a:ext>
            </a:extLst>
          </p:cNvPr>
          <p:cNvGrpSpPr/>
          <p:nvPr/>
        </p:nvGrpSpPr>
        <p:grpSpPr>
          <a:xfrm>
            <a:off x="3531620" y="3459861"/>
            <a:ext cx="3291211" cy="346233"/>
            <a:chOff x="1474778" y="3230983"/>
            <a:chExt cx="3291211" cy="346233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AC8D26E-7435-4384-88FB-EA0C3DD3B3E6}"/>
                </a:ext>
              </a:extLst>
            </p:cNvPr>
            <p:cNvSpPr/>
            <p:nvPr/>
          </p:nvSpPr>
          <p:spPr>
            <a:xfrm>
              <a:off x="1888140" y="3311401"/>
              <a:ext cx="2877849" cy="265815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ID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exa Light" panose="02000000000000000000" pitchFamily="50" charset="0"/>
                </a:rPr>
                <a:t>Lorem ipsum dolor sit amet</a:t>
              </a: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A9C77D53-37A9-4590-8A53-03C16877768F}"/>
                </a:ext>
              </a:extLst>
            </p:cNvPr>
            <p:cNvCxnSpPr>
              <a:cxnSpLocks/>
            </p:cNvCxnSpPr>
            <p:nvPr/>
          </p:nvCxnSpPr>
          <p:spPr>
            <a:xfrm>
              <a:off x="1530301" y="3534796"/>
              <a:ext cx="209950" cy="0"/>
            </a:xfrm>
            <a:prstGeom prst="line">
              <a:avLst/>
            </a:prstGeom>
            <a:ln w="50800">
              <a:solidFill>
                <a:srgbClr val="D8243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D85EB36-432B-4804-A836-F1F4E46423D3}"/>
                </a:ext>
              </a:extLst>
            </p:cNvPr>
            <p:cNvSpPr/>
            <p:nvPr/>
          </p:nvSpPr>
          <p:spPr>
            <a:xfrm>
              <a:off x="1474778" y="3230983"/>
              <a:ext cx="320996" cy="30162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ID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exa Bold" panose="02000000000000000000" pitchFamily="50" charset="0"/>
                </a:rPr>
                <a:t>15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71434C8-D485-4F54-83A6-AB5BEF399697}"/>
              </a:ext>
            </a:extLst>
          </p:cNvPr>
          <p:cNvGrpSpPr/>
          <p:nvPr/>
        </p:nvGrpSpPr>
        <p:grpSpPr>
          <a:xfrm>
            <a:off x="3531620" y="4144562"/>
            <a:ext cx="3291211" cy="344006"/>
            <a:chOff x="1474778" y="4036049"/>
            <a:chExt cx="3291211" cy="344006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7DD384EA-96D8-4D2C-ADCD-1C760E727635}"/>
                </a:ext>
              </a:extLst>
            </p:cNvPr>
            <p:cNvSpPr/>
            <p:nvPr/>
          </p:nvSpPr>
          <p:spPr>
            <a:xfrm>
              <a:off x="1888140" y="4114240"/>
              <a:ext cx="2877849" cy="265815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ID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exa Light" panose="02000000000000000000" pitchFamily="50" charset="0"/>
                </a:rPr>
                <a:t>Lorem ipsum dolor sit amet</a:t>
              </a: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58F5989B-571E-486A-9CE6-A20BF85E952E}"/>
                </a:ext>
              </a:extLst>
            </p:cNvPr>
            <p:cNvCxnSpPr>
              <a:cxnSpLocks/>
            </p:cNvCxnSpPr>
            <p:nvPr/>
          </p:nvCxnSpPr>
          <p:spPr>
            <a:xfrm>
              <a:off x="1530301" y="4339862"/>
              <a:ext cx="209950" cy="0"/>
            </a:xfrm>
            <a:prstGeom prst="line">
              <a:avLst/>
            </a:prstGeom>
            <a:ln w="50800">
              <a:solidFill>
                <a:srgbClr val="D8243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C897288-85DF-4FD1-AC2B-1D686054D498}"/>
                </a:ext>
              </a:extLst>
            </p:cNvPr>
            <p:cNvSpPr/>
            <p:nvPr/>
          </p:nvSpPr>
          <p:spPr>
            <a:xfrm>
              <a:off x="1474778" y="4036049"/>
              <a:ext cx="320996" cy="30162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ID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exa Bold" panose="02000000000000000000" pitchFamily="50" charset="0"/>
                </a:rPr>
                <a:t>20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B0CD4DA5-A7EA-4B25-ADDD-4ACB7673CC8B}"/>
              </a:ext>
            </a:extLst>
          </p:cNvPr>
          <p:cNvGrpSpPr/>
          <p:nvPr/>
        </p:nvGrpSpPr>
        <p:grpSpPr>
          <a:xfrm>
            <a:off x="7561009" y="1417047"/>
            <a:ext cx="3291211" cy="344006"/>
            <a:chOff x="1474778" y="1308534"/>
            <a:chExt cx="3291211" cy="344006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46315D05-0A44-4D40-8015-FFB243B6F888}"/>
                </a:ext>
              </a:extLst>
            </p:cNvPr>
            <p:cNvSpPr/>
            <p:nvPr/>
          </p:nvSpPr>
          <p:spPr>
            <a:xfrm>
              <a:off x="1888140" y="1386725"/>
              <a:ext cx="2877849" cy="265815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ID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exa Light" panose="02000000000000000000" pitchFamily="50" charset="0"/>
                </a:rPr>
                <a:t>Lorem ipsum dolor sit amet</a:t>
              </a:r>
            </a:p>
          </p:txBody>
        </p: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F7C86F9B-E855-4585-9651-9E2D000AD98D}"/>
                </a:ext>
              </a:extLst>
            </p:cNvPr>
            <p:cNvCxnSpPr>
              <a:cxnSpLocks/>
            </p:cNvCxnSpPr>
            <p:nvPr/>
          </p:nvCxnSpPr>
          <p:spPr>
            <a:xfrm>
              <a:off x="1530301" y="1612347"/>
              <a:ext cx="209950" cy="0"/>
            </a:xfrm>
            <a:prstGeom prst="line">
              <a:avLst/>
            </a:prstGeom>
            <a:ln w="50800">
              <a:solidFill>
                <a:srgbClr val="D8243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A00D27EC-8A67-4A1B-AA51-A40BFE81A5A5}"/>
                </a:ext>
              </a:extLst>
            </p:cNvPr>
            <p:cNvSpPr/>
            <p:nvPr/>
          </p:nvSpPr>
          <p:spPr>
            <a:xfrm>
              <a:off x="1474778" y="1308534"/>
              <a:ext cx="320996" cy="30162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ID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exa Bold" panose="02000000000000000000" pitchFamily="50" charset="0"/>
                </a:rPr>
                <a:t>02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C5B11EA0-9821-4B52-A17A-EC2794269A12}"/>
              </a:ext>
            </a:extLst>
          </p:cNvPr>
          <p:cNvGrpSpPr/>
          <p:nvPr/>
        </p:nvGrpSpPr>
        <p:grpSpPr>
          <a:xfrm>
            <a:off x="7561009" y="2099522"/>
            <a:ext cx="3291211" cy="339395"/>
            <a:chOff x="1474778" y="1790531"/>
            <a:chExt cx="3291211" cy="339395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5E7EAEEA-E0E7-4B3D-B304-332CA0F80B87}"/>
                </a:ext>
              </a:extLst>
            </p:cNvPr>
            <p:cNvSpPr/>
            <p:nvPr/>
          </p:nvSpPr>
          <p:spPr>
            <a:xfrm>
              <a:off x="1888140" y="1864111"/>
              <a:ext cx="2877849" cy="265815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ID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exa Light" panose="02000000000000000000" pitchFamily="50" charset="0"/>
                </a:rPr>
                <a:t>Lorem ipsum dolor sit amet</a:t>
              </a: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F75AB56-E43E-447B-B4B3-9B19EF1F6CB5}"/>
                </a:ext>
              </a:extLst>
            </p:cNvPr>
            <p:cNvCxnSpPr>
              <a:cxnSpLocks/>
            </p:cNvCxnSpPr>
            <p:nvPr/>
          </p:nvCxnSpPr>
          <p:spPr>
            <a:xfrm>
              <a:off x="1530301" y="2094344"/>
              <a:ext cx="209950" cy="0"/>
            </a:xfrm>
            <a:prstGeom prst="line">
              <a:avLst/>
            </a:prstGeom>
            <a:ln w="50800">
              <a:solidFill>
                <a:srgbClr val="D8243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DDEAD6D4-CD0E-47BC-AB9D-161BB80BB305}"/>
                </a:ext>
              </a:extLst>
            </p:cNvPr>
            <p:cNvSpPr/>
            <p:nvPr/>
          </p:nvSpPr>
          <p:spPr>
            <a:xfrm>
              <a:off x="1474778" y="1790531"/>
              <a:ext cx="320996" cy="30162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ID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exa Bold" panose="02000000000000000000" pitchFamily="50" charset="0"/>
                </a:rPr>
                <a:t>09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749F594-631C-4174-B831-C551EFC5DF8E}"/>
              </a:ext>
            </a:extLst>
          </p:cNvPr>
          <p:cNvGrpSpPr/>
          <p:nvPr/>
        </p:nvGrpSpPr>
        <p:grpSpPr>
          <a:xfrm>
            <a:off x="7561009" y="2777386"/>
            <a:ext cx="3291211" cy="344006"/>
            <a:chOff x="1474778" y="2430371"/>
            <a:chExt cx="3291211" cy="344006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0A21CEED-F88E-40D7-B1E8-F6898711C6D3}"/>
                </a:ext>
              </a:extLst>
            </p:cNvPr>
            <p:cNvSpPr/>
            <p:nvPr/>
          </p:nvSpPr>
          <p:spPr>
            <a:xfrm>
              <a:off x="1888140" y="2508562"/>
              <a:ext cx="2877849" cy="265815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ID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exa Light" panose="02000000000000000000" pitchFamily="50" charset="0"/>
                </a:rPr>
                <a:t>Lorem ipsum dolor sit amet</a:t>
              </a:r>
            </a:p>
          </p:txBody>
        </p: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593CA93-F28E-40F7-A876-7511C5570A06}"/>
                </a:ext>
              </a:extLst>
            </p:cNvPr>
            <p:cNvCxnSpPr>
              <a:cxnSpLocks/>
            </p:cNvCxnSpPr>
            <p:nvPr/>
          </p:nvCxnSpPr>
          <p:spPr>
            <a:xfrm>
              <a:off x="1530301" y="2734184"/>
              <a:ext cx="209950" cy="0"/>
            </a:xfrm>
            <a:prstGeom prst="line">
              <a:avLst/>
            </a:prstGeom>
            <a:ln w="50800">
              <a:solidFill>
                <a:srgbClr val="D8243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EE7D47D6-F4E8-4F27-AA83-A907D1E5C464}"/>
                </a:ext>
              </a:extLst>
            </p:cNvPr>
            <p:cNvSpPr/>
            <p:nvPr/>
          </p:nvSpPr>
          <p:spPr>
            <a:xfrm>
              <a:off x="1474778" y="2430371"/>
              <a:ext cx="320996" cy="30162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ID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exa Bold" panose="02000000000000000000" pitchFamily="50" charset="0"/>
                </a:rPr>
                <a:t>10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3286C04F-558D-4223-81EB-F3FBE25685EA}"/>
              </a:ext>
            </a:extLst>
          </p:cNvPr>
          <p:cNvGrpSpPr/>
          <p:nvPr/>
        </p:nvGrpSpPr>
        <p:grpSpPr>
          <a:xfrm>
            <a:off x="7561009" y="3459861"/>
            <a:ext cx="3291211" cy="346233"/>
            <a:chOff x="1474778" y="3230983"/>
            <a:chExt cx="3291211" cy="346233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FFB85D95-23AE-446D-9940-622EC9E9C2F2}"/>
                </a:ext>
              </a:extLst>
            </p:cNvPr>
            <p:cNvSpPr/>
            <p:nvPr/>
          </p:nvSpPr>
          <p:spPr>
            <a:xfrm>
              <a:off x="1888140" y="3311401"/>
              <a:ext cx="2877849" cy="265815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ID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exa Light" panose="02000000000000000000" pitchFamily="50" charset="0"/>
                </a:rPr>
                <a:t>Lorem ipsum dolor sit amet</a:t>
              </a: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C3B4C061-FFB8-4FF4-AAEF-6999BA2584BE}"/>
                </a:ext>
              </a:extLst>
            </p:cNvPr>
            <p:cNvCxnSpPr>
              <a:cxnSpLocks/>
            </p:cNvCxnSpPr>
            <p:nvPr/>
          </p:nvCxnSpPr>
          <p:spPr>
            <a:xfrm>
              <a:off x="1530301" y="3534796"/>
              <a:ext cx="209950" cy="0"/>
            </a:xfrm>
            <a:prstGeom prst="line">
              <a:avLst/>
            </a:prstGeom>
            <a:ln w="50800">
              <a:solidFill>
                <a:srgbClr val="D8243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F4D9C181-9FE9-4EAD-B3F7-F9F11D9E0546}"/>
                </a:ext>
              </a:extLst>
            </p:cNvPr>
            <p:cNvSpPr/>
            <p:nvPr/>
          </p:nvSpPr>
          <p:spPr>
            <a:xfrm>
              <a:off x="1474778" y="3230983"/>
              <a:ext cx="320996" cy="30162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ID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exa Bold" panose="02000000000000000000" pitchFamily="50" charset="0"/>
                </a:rPr>
                <a:t>15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23B9D6FB-790A-45F9-84AD-C7358144886D}"/>
              </a:ext>
            </a:extLst>
          </p:cNvPr>
          <p:cNvGrpSpPr/>
          <p:nvPr/>
        </p:nvGrpSpPr>
        <p:grpSpPr>
          <a:xfrm>
            <a:off x="7561009" y="4144562"/>
            <a:ext cx="3291211" cy="344006"/>
            <a:chOff x="1474778" y="4036049"/>
            <a:chExt cx="3291211" cy="344006"/>
          </a:xfrm>
        </p:grpSpPr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B7FF55A-7557-494D-A2E2-8BD2ECCC03BD}"/>
                </a:ext>
              </a:extLst>
            </p:cNvPr>
            <p:cNvSpPr/>
            <p:nvPr/>
          </p:nvSpPr>
          <p:spPr>
            <a:xfrm>
              <a:off x="1888140" y="4114240"/>
              <a:ext cx="2877849" cy="265815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ID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exa Light" panose="02000000000000000000" pitchFamily="50" charset="0"/>
                </a:rPr>
                <a:t>Lorem ipsum dolor sit amet</a:t>
              </a:r>
            </a:p>
          </p:txBody>
        </p: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8C4B7284-1BD2-461F-8553-16230AAB5013}"/>
                </a:ext>
              </a:extLst>
            </p:cNvPr>
            <p:cNvCxnSpPr>
              <a:cxnSpLocks/>
            </p:cNvCxnSpPr>
            <p:nvPr/>
          </p:nvCxnSpPr>
          <p:spPr>
            <a:xfrm>
              <a:off x="1530301" y="4339862"/>
              <a:ext cx="209950" cy="0"/>
            </a:xfrm>
            <a:prstGeom prst="line">
              <a:avLst/>
            </a:prstGeom>
            <a:ln w="50800">
              <a:solidFill>
                <a:srgbClr val="D8243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DB8A3576-EF2A-43EB-A86F-92450F9469DD}"/>
                </a:ext>
              </a:extLst>
            </p:cNvPr>
            <p:cNvSpPr/>
            <p:nvPr/>
          </p:nvSpPr>
          <p:spPr>
            <a:xfrm>
              <a:off x="1474778" y="4036049"/>
              <a:ext cx="320996" cy="30162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ID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exa Bold" panose="02000000000000000000" pitchFamily="50" charset="0"/>
                </a:rPr>
                <a:t>20</a:t>
              </a:r>
            </a:p>
          </p:txBody>
        </p:sp>
      </p:grpSp>
      <p:sp>
        <p:nvSpPr>
          <p:cNvPr id="84" name="Rectangle 83">
            <a:extLst>
              <a:ext uri="{FF2B5EF4-FFF2-40B4-BE49-F238E27FC236}">
                <a16:creationId xmlns:a16="http://schemas.microsoft.com/office/drawing/2014/main" id="{2D21F628-D09E-48CF-BA90-962276D411FE}"/>
              </a:ext>
            </a:extLst>
          </p:cNvPr>
          <p:cNvSpPr/>
          <p:nvPr/>
        </p:nvSpPr>
        <p:spPr>
          <a:xfrm>
            <a:off x="3584514" y="5647077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APPENDIX A  </a:t>
            </a:r>
            <a:r>
              <a:rPr lang="en-ID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1208B4F0-EAC3-44FA-83DE-D8B0D90BA4CD}"/>
              </a:ext>
            </a:extLst>
          </p:cNvPr>
          <p:cNvSpPr/>
          <p:nvPr/>
        </p:nvSpPr>
        <p:spPr>
          <a:xfrm>
            <a:off x="3584514" y="5942628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APPENDIX B  </a:t>
            </a:r>
            <a:r>
              <a:rPr lang="en-ID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7927D99A-6216-4D0D-AD9E-5B244BD40C73}"/>
              </a:ext>
            </a:extLst>
          </p:cNvPr>
          <p:cNvSpPr/>
          <p:nvPr/>
        </p:nvSpPr>
        <p:spPr>
          <a:xfrm>
            <a:off x="7564457" y="5644961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APPENDIX C  </a:t>
            </a:r>
            <a:r>
              <a:rPr lang="en-ID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F29FC4AB-9DA9-4E42-8519-BBCF6ADDD128}"/>
              </a:ext>
            </a:extLst>
          </p:cNvPr>
          <p:cNvSpPr/>
          <p:nvPr/>
        </p:nvSpPr>
        <p:spPr>
          <a:xfrm>
            <a:off x="7564457" y="5940511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APPENDIX D  </a:t>
            </a:r>
            <a:r>
              <a:rPr lang="en-ID" sz="11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C407597-9CED-48B8-AE4B-BA47EE95CB1E}"/>
              </a:ext>
            </a:extLst>
          </p:cNvPr>
          <p:cNvSpPr/>
          <p:nvPr/>
        </p:nvSpPr>
        <p:spPr>
          <a:xfrm>
            <a:off x="4606857" y="5647077"/>
            <a:ext cx="184630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A3F76FD-2FEC-4BF9-A568-4D77C6F7149C}"/>
              </a:ext>
            </a:extLst>
          </p:cNvPr>
          <p:cNvSpPr/>
          <p:nvPr/>
        </p:nvSpPr>
        <p:spPr>
          <a:xfrm>
            <a:off x="4606856" y="5942627"/>
            <a:ext cx="1846303" cy="2073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CA1CC045-61AE-4275-9764-B63DFBB908B5}"/>
              </a:ext>
            </a:extLst>
          </p:cNvPr>
          <p:cNvSpPr/>
          <p:nvPr/>
        </p:nvSpPr>
        <p:spPr>
          <a:xfrm>
            <a:off x="8586799" y="5644960"/>
            <a:ext cx="1846303" cy="2073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CBD85D30-A635-446F-A0C5-D28495D3A121}"/>
              </a:ext>
            </a:extLst>
          </p:cNvPr>
          <p:cNvSpPr/>
          <p:nvPr/>
        </p:nvSpPr>
        <p:spPr>
          <a:xfrm>
            <a:off x="8586799" y="5940510"/>
            <a:ext cx="1846303" cy="2073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D759F2B-57BE-4B8E-8B98-C66CEA3CA988}"/>
              </a:ext>
            </a:extLst>
          </p:cNvPr>
          <p:cNvSpPr/>
          <p:nvPr/>
        </p:nvSpPr>
        <p:spPr>
          <a:xfrm>
            <a:off x="0" y="0"/>
            <a:ext cx="2697808" cy="685800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EA2D7BB6-A764-4FA9-94ED-77DAF89CB5C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220" y="363125"/>
            <a:ext cx="1073080" cy="455405"/>
          </a:xfrm>
          <a:prstGeom prst="rect">
            <a:avLst/>
          </a:prstGeom>
          <a:noFill/>
          <a:ln>
            <a:noFill/>
          </a:ln>
        </p:spPr>
      </p:pic>
      <p:sp>
        <p:nvSpPr>
          <p:cNvPr id="93" name="Title 1">
            <a:extLst>
              <a:ext uri="{FF2B5EF4-FFF2-40B4-BE49-F238E27FC236}">
                <a16:creationId xmlns:a16="http://schemas.microsoft.com/office/drawing/2014/main" id="{28DE337D-EC63-409D-A6ED-1998A421B03A}"/>
              </a:ext>
            </a:extLst>
          </p:cNvPr>
          <p:cNvSpPr txBox="1">
            <a:spLocks/>
          </p:cNvSpPr>
          <p:nvPr/>
        </p:nvSpPr>
        <p:spPr>
          <a:xfrm>
            <a:off x="551738" y="3442527"/>
            <a:ext cx="1783689" cy="4555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200"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FFFFFF"/>
                </a:solidFill>
              </a:rPr>
              <a:t>Content</a:t>
            </a: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8B4280EC-8F8B-4745-AAB2-8150AECB3D51}"/>
              </a:ext>
            </a:extLst>
          </p:cNvPr>
          <p:cNvCxnSpPr>
            <a:cxnSpLocks/>
          </p:cNvCxnSpPr>
          <p:nvPr/>
        </p:nvCxnSpPr>
        <p:spPr>
          <a:xfrm flipV="1">
            <a:off x="3580671" y="5138391"/>
            <a:ext cx="6727163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Footer Placeholder 4">
            <a:extLst>
              <a:ext uri="{FF2B5EF4-FFF2-40B4-BE49-F238E27FC236}">
                <a16:creationId xmlns:a16="http://schemas.microsoft.com/office/drawing/2014/main" id="{D2ECBB89-2336-4766-80EA-68D087F23EDB}"/>
              </a:ext>
            </a:extLst>
          </p:cNvPr>
          <p:cNvSpPr txBox="1">
            <a:spLocks/>
          </p:cNvSpPr>
          <p:nvPr/>
        </p:nvSpPr>
        <p:spPr>
          <a:xfrm>
            <a:off x="11295586" y="6341710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CONFIDINTIAL</a:t>
            </a:r>
          </a:p>
        </p:txBody>
      </p:sp>
    </p:spTree>
    <p:extLst>
      <p:ext uri="{BB962C8B-B14F-4D97-AF65-F5344CB8AC3E}">
        <p14:creationId xmlns:p14="http://schemas.microsoft.com/office/powerpoint/2010/main" val="78947294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693501-8BF3-44B6-ABFC-E2AE6AEAA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946FBF-1FC0-41FA-83EB-F3A3D185E9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C8C70E-55EB-43E4-8384-1298C92D54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E649DF-9FF7-4A79-A05D-6A12F5E8A44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937CBC-EA09-4000-81F8-7FD77D8D2CD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C074EB-11AB-4591-8875-03A7ECAD08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42516F-7F37-407B-88E9-E1C553450714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DD9DA5B-E5AA-41FC-94EF-5AA9D0C1D5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EC7E0C2-1DD6-401E-8001-C1AD2A1616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2136E-98DB-4223-B01A-AE522A373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61155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630B87-8AF0-4F2C-B1D6-D09B6B2917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A5AC67-670F-4BC0-AC42-E7A4BC2EBD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9E5C8-3DFC-4BEB-9089-0DA61B425822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3937E2-AA12-4B53-A334-03F5A7F66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B97CD7-278C-409F-8372-F0241A3AC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2136E-98DB-4223-B01A-AE522A373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87186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17E9A17-8A33-4F55-B038-6A155759D5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DFCD57-1F8F-4AA2-9BB9-91B916EE3EA9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128151-D8F7-4DF9-8BB2-FE29841CC1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435291-A332-4F0D-BC37-6D2D698C0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2136E-98DB-4223-B01A-AE522A373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39747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EF473F-B758-4D11-878E-D368EA01D4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D2E98B-3DE1-46EC-977B-B74DFCBA0F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991198-FC0C-42AB-B6D5-4A602C5B73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5D50F7-70D1-40F4-B433-5242340649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837862-B785-470C-9D43-878A8017ECCB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942F9F-84DF-4673-8824-82BA9CA79F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D22B2B-2748-4FC2-BA57-43174BD8D5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2136E-98DB-4223-B01A-AE522A373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403613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A751C7-1D43-49E8-8CEE-8778F9A3E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1B70072-D61A-45C2-ABA0-20397872710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874E6B-86D4-4EB1-8F73-3CC1ABFAC7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CC66F3-1F17-41D7-B645-1AF64B0DD5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47DA3-0DA8-4901-A2B1-50A6C9E21ED1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9BD32A-C36C-4A44-8055-F486DADC14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189D7F-71DD-4AEC-9E73-8BE05051C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2136E-98DB-4223-B01A-AE522A373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212775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66388A-5C94-490D-9D1D-6277F1B35B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2E4743A-8689-4F4E-8F63-00AFFDFDE0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3BBC1A-EBEC-4F86-B3EE-9879F5752C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5A7A2-2C5B-42F8-9E98-6610DFC3E2CC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7A3FFE-5AD8-47F6-A347-557E3C34E1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EBEED1-067C-48B4-9582-349A92B56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2136E-98DB-4223-B01A-AE522A373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21866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2EF4549-EA87-408C-97C6-BF3BD041F00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4B92946-9981-4410-BFA9-A89E16AC25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E5E114-1170-447D-9B43-6A511AF310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2D5566-1DE3-4DC1-9231-1C317E8A8243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F32691-656D-4F54-B7DF-1FB335C997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FCD78A-FC4E-4583-925E-FA783D46A7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2136E-98DB-4223-B01A-AE522A373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66112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eft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BFC63C32-5A1A-432C-93F6-369417C4E7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1" y="350121"/>
            <a:ext cx="11506200" cy="348380"/>
          </a:xfrm>
        </p:spPr>
        <p:txBody>
          <a:bodyPr lIns="0" tIns="0" rIns="0" bIns="0" anchor="t">
            <a:noAutofit/>
          </a:bodyPr>
          <a:lstStyle>
            <a:lvl1pPr algn="l" rtl="0">
              <a:defRPr sz="2400">
                <a:latin typeface="HelveticaNeueLT Arabic 75 Bold" panose="020B0804020202020204" pitchFamily="34" charset="-78"/>
                <a:cs typeface="HelveticaNeueLT Arabic 75 Bold" panose="020B0804020202020204" pitchFamily="34" charset="-7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62A742F-8631-47CC-B446-1A8F8EDA9BBA}"/>
              </a:ext>
            </a:extLst>
          </p:cNvPr>
          <p:cNvCxnSpPr>
            <a:cxnSpLocks/>
          </p:cNvCxnSpPr>
          <p:nvPr/>
        </p:nvCxnSpPr>
        <p:spPr>
          <a:xfrm>
            <a:off x="1171575" y="6534543"/>
            <a:ext cx="94202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2B8B1CF-033A-4BE7-9D9A-A3B7B169AE80}"/>
              </a:ext>
            </a:extLst>
          </p:cNvPr>
          <p:cNvSpPr/>
          <p:nvPr/>
        </p:nvSpPr>
        <p:spPr>
          <a:xfrm>
            <a:off x="342901" y="6410325"/>
            <a:ext cx="629628" cy="248436"/>
          </a:xfrm>
          <a:prstGeom prst="roundRect">
            <a:avLst>
              <a:gd name="adj" fmla="val 50000"/>
            </a:avLst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98504DD-FBCF-4E0F-83C8-D26D6DF31E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10" y="6448505"/>
            <a:ext cx="358756" cy="172076"/>
          </a:xfrm>
        </p:spPr>
        <p:txBody>
          <a:bodyPr lIns="0" tIns="0" rIns="0" bIns="0" anchor="ctr"/>
          <a:lstStyle>
            <a:lvl1pPr algn="ctr">
              <a:defRPr sz="1000">
                <a:solidFill>
                  <a:schemeClr val="bg1"/>
                </a:solidFill>
                <a:latin typeface="HelveticaNeueLT Arabic 75 Bold" panose="020B0804020202020204" pitchFamily="34" charset="-78"/>
                <a:ea typeface="HelveticaNeueLT Arabic 75 Bold" panose="020B0804020202020204" pitchFamily="34" charset="-78"/>
                <a:cs typeface="HelveticaNeueLT Arabic 75 Bold" panose="020B0804020202020204" pitchFamily="34" charset="-78"/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 dirty="0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737214E3-882E-492B-9026-25A02187F19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2900" y="1045029"/>
            <a:ext cx="11506200" cy="5065485"/>
          </a:xfrm>
        </p:spPr>
        <p:txBody>
          <a:bodyPr lIns="0" tIns="0" rIns="0" bIns="0">
            <a:normAutofit/>
          </a:bodyPr>
          <a:lstStyle>
            <a:lvl1pPr marL="228600" indent="-228600" algn="l" rtl="0">
              <a:buFont typeface="Verdana" panose="020B0604030504040204" pitchFamily="34" charset="0"/>
              <a:buChar char="›"/>
              <a:defRPr sz="1600">
                <a:latin typeface="+mn-lt"/>
              </a:defRPr>
            </a:lvl1pPr>
            <a:lvl2pPr marL="685800" indent="-228600" algn="l" rtl="0">
              <a:buFont typeface="Verdana" panose="020B0604030504040204" pitchFamily="34" charset="0"/>
              <a:buChar char="›"/>
              <a:defRPr sz="1400">
                <a:latin typeface="+mn-lt"/>
              </a:defRPr>
            </a:lvl2pPr>
            <a:lvl3pPr marL="1143000" indent="-228600" algn="l" rtl="0">
              <a:buFont typeface="Verdana" panose="020B0604030504040204" pitchFamily="34" charset="0"/>
              <a:buChar char="›"/>
              <a:defRPr sz="1200">
                <a:latin typeface="+mn-lt"/>
              </a:defRPr>
            </a:lvl3pPr>
            <a:lvl4pPr marL="1600200" indent="-228600" algn="l" rtl="0">
              <a:buFont typeface="Verdana" panose="020B0604030504040204" pitchFamily="34" charset="0"/>
              <a:buChar char="›"/>
              <a:defRPr sz="1100">
                <a:latin typeface="+mn-lt"/>
              </a:defRPr>
            </a:lvl4pPr>
            <a:lvl5pPr marL="2057400" indent="-228600" algn="l" rtl="0">
              <a:buFont typeface="Verdana" panose="020B0604030504040204" pitchFamily="34" charset="0"/>
              <a:buChar char="›"/>
              <a:defRPr sz="11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399463-470B-4212-A8C9-E0FB395B0C5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7208" y="6315376"/>
            <a:ext cx="1032856" cy="4383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64811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16">
          <p15:clr>
            <a:srgbClr val="FBAE40"/>
          </p15:clr>
        </p15:guide>
        <p15:guide id="6" pos="7464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672"/>
          <a:stretch/>
        </p:blipFill>
        <p:spPr>
          <a:xfrm>
            <a:off x="-1" y="-1"/>
            <a:ext cx="10755567" cy="6858001"/>
          </a:xfrm>
          <a:custGeom>
            <a:avLst/>
            <a:gdLst>
              <a:gd name="connsiteX0" fmla="*/ 0 w 10755567"/>
              <a:gd name="connsiteY0" fmla="*/ 0 h 6858000"/>
              <a:gd name="connsiteX1" fmla="*/ 8634330 w 10755567"/>
              <a:gd name="connsiteY1" fmla="*/ 0 h 6858000"/>
              <a:gd name="connsiteX2" fmla="*/ 10284028 w 10755567"/>
              <a:gd name="connsiteY2" fmla="*/ 1653189 h 6858000"/>
              <a:gd name="connsiteX3" fmla="*/ 10284028 w 10755567"/>
              <a:gd name="connsiteY3" fmla="*/ 3934802 h 6858000"/>
              <a:gd name="connsiteX4" fmla="*/ 7367003 w 10755567"/>
              <a:gd name="connsiteY4" fmla="*/ 6858000 h 6858000"/>
              <a:gd name="connsiteX5" fmla="*/ 0 w 10755567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55567" h="6858000">
                <a:moveTo>
                  <a:pt x="0" y="0"/>
                </a:moveTo>
                <a:lnTo>
                  <a:pt x="8634330" y="0"/>
                </a:lnTo>
                <a:lnTo>
                  <a:pt x="10284028" y="1653189"/>
                </a:lnTo>
                <a:cubicBezTo>
                  <a:pt x="10912747" y="2283239"/>
                  <a:pt x="10912747" y="3304752"/>
                  <a:pt x="10284028" y="3934802"/>
                </a:cubicBezTo>
                <a:lnTo>
                  <a:pt x="736700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>
          <a:xfrm>
            <a:off x="0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72000">
                <a:srgbClr val="D82435">
                  <a:alpha val="11000"/>
                </a:srgbClr>
              </a:gs>
              <a:gs pos="13000">
                <a:srgbClr val="D8243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2263" y="5586149"/>
            <a:ext cx="2046606" cy="86970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10860" y="3883937"/>
            <a:ext cx="5537640" cy="919512"/>
          </a:xfrm>
        </p:spPr>
        <p:txBody>
          <a:bodyPr lIns="0" tIns="0" rIns="0" bIns="0" anchor="b">
            <a:normAutofit/>
          </a:bodyPr>
          <a:lstStyle>
            <a:lvl1pPr algn="l"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0860" y="5309150"/>
            <a:ext cx="5537640" cy="2769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d-ID"/>
          </a:p>
        </p:txBody>
      </p:sp>
      <p:cxnSp>
        <p:nvCxnSpPr>
          <p:cNvPr id="18" name="Straight Connector 17"/>
          <p:cNvCxnSpPr/>
          <p:nvPr/>
        </p:nvCxnSpPr>
        <p:spPr>
          <a:xfrm>
            <a:off x="1510860" y="5041836"/>
            <a:ext cx="97790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276351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509157"/>
            <a:ext cx="2743200" cy="154799"/>
          </a:xfrm>
        </p:spPr>
        <p:txBody>
          <a:bodyPr/>
          <a:lstStyle>
            <a:lvl1pPr>
              <a:defRPr sz="1000"/>
            </a:lvl1pPr>
          </a:lstStyle>
          <a:p>
            <a:fld id="{2D3F940D-F091-4E2E-BDE8-E6194510D4FB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509157"/>
            <a:ext cx="4114800" cy="154800"/>
          </a:xfrm>
        </p:spPr>
        <p:txBody>
          <a:bodyPr lIns="0" tIns="0" rIns="0" bIns="0" anchor="ctr" anchorCtr="0"/>
          <a:lstStyle>
            <a:lvl1pPr algn="l"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372357"/>
            <a:ext cx="302400" cy="428400"/>
          </a:xfrm>
        </p:spPr>
        <p:txBody>
          <a:bodyPr lIns="0" tIns="0" rIns="0" bIns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734326" y="6751320"/>
            <a:ext cx="415743" cy="10668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734326" y="6269548"/>
            <a:ext cx="102816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1575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1CF7ECE-168F-4A1D-891E-5479314AA799}"/>
              </a:ext>
            </a:extLst>
          </p:cNvPr>
          <p:cNvSpPr/>
          <p:nvPr/>
        </p:nvSpPr>
        <p:spPr>
          <a:xfrm>
            <a:off x="0" y="5528010"/>
            <a:ext cx="12192000" cy="132999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3B88249-034E-4263-B3AA-175A5A181DC1}"/>
              </a:ext>
            </a:extLst>
          </p:cNvPr>
          <p:cNvSpPr/>
          <p:nvPr/>
        </p:nvSpPr>
        <p:spPr>
          <a:xfrm>
            <a:off x="3686795" y="1363612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90E03B71-463D-4439-A221-DFE09A29633D}"/>
              </a:ext>
            </a:extLst>
          </p:cNvPr>
          <p:cNvCxnSpPr>
            <a:cxnSpLocks/>
          </p:cNvCxnSpPr>
          <p:nvPr/>
        </p:nvCxnSpPr>
        <p:spPr>
          <a:xfrm>
            <a:off x="3328956" y="1589234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75C80992-3C2F-4A61-B5F1-2A1A93513FA9}"/>
              </a:ext>
            </a:extLst>
          </p:cNvPr>
          <p:cNvSpPr/>
          <p:nvPr/>
        </p:nvSpPr>
        <p:spPr>
          <a:xfrm>
            <a:off x="3273433" y="1285421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02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A2BA25E-0EBA-4780-B760-C6E721831CAE}"/>
              </a:ext>
            </a:extLst>
          </p:cNvPr>
          <p:cNvSpPr/>
          <p:nvPr/>
        </p:nvSpPr>
        <p:spPr>
          <a:xfrm>
            <a:off x="3686795" y="2041476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5FF7385-6E8F-43A7-BBE0-E29C3C64F301}"/>
              </a:ext>
            </a:extLst>
          </p:cNvPr>
          <p:cNvCxnSpPr>
            <a:cxnSpLocks/>
          </p:cNvCxnSpPr>
          <p:nvPr/>
        </p:nvCxnSpPr>
        <p:spPr>
          <a:xfrm>
            <a:off x="3328956" y="2271709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0917853E-A7DD-434E-8C6D-D8D7F68D078E}"/>
              </a:ext>
            </a:extLst>
          </p:cNvPr>
          <p:cNvSpPr/>
          <p:nvPr/>
        </p:nvSpPr>
        <p:spPr>
          <a:xfrm>
            <a:off x="3273433" y="1967896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09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75393E7-386B-4C0B-B826-FDA74970868C}"/>
              </a:ext>
            </a:extLst>
          </p:cNvPr>
          <p:cNvSpPr/>
          <p:nvPr/>
        </p:nvSpPr>
        <p:spPr>
          <a:xfrm>
            <a:off x="3686795" y="2723951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7C78A87C-FA1C-4313-9F39-70EF328CA848}"/>
              </a:ext>
            </a:extLst>
          </p:cNvPr>
          <p:cNvCxnSpPr>
            <a:cxnSpLocks/>
          </p:cNvCxnSpPr>
          <p:nvPr/>
        </p:nvCxnSpPr>
        <p:spPr>
          <a:xfrm>
            <a:off x="3328956" y="2949573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59B14903-6FD1-4CBF-AB9C-888C495E70D0}"/>
              </a:ext>
            </a:extLst>
          </p:cNvPr>
          <p:cNvSpPr/>
          <p:nvPr/>
        </p:nvSpPr>
        <p:spPr>
          <a:xfrm>
            <a:off x="3273433" y="2645760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10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AC8D26E-7435-4384-88FB-EA0C3DD3B3E6}"/>
              </a:ext>
            </a:extLst>
          </p:cNvPr>
          <p:cNvSpPr/>
          <p:nvPr/>
        </p:nvSpPr>
        <p:spPr>
          <a:xfrm>
            <a:off x="3686795" y="3408653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9C77D53-37A9-4590-8A53-03C16877768F}"/>
              </a:ext>
            </a:extLst>
          </p:cNvPr>
          <p:cNvCxnSpPr>
            <a:cxnSpLocks/>
          </p:cNvCxnSpPr>
          <p:nvPr/>
        </p:nvCxnSpPr>
        <p:spPr>
          <a:xfrm>
            <a:off x="3328956" y="3632048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FD85EB36-432B-4804-A836-F1F4E46423D3}"/>
              </a:ext>
            </a:extLst>
          </p:cNvPr>
          <p:cNvSpPr/>
          <p:nvPr/>
        </p:nvSpPr>
        <p:spPr>
          <a:xfrm>
            <a:off x="3273433" y="3328235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15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DD384EA-96D8-4D2C-ADCD-1C760E727635}"/>
              </a:ext>
            </a:extLst>
          </p:cNvPr>
          <p:cNvSpPr/>
          <p:nvPr/>
        </p:nvSpPr>
        <p:spPr>
          <a:xfrm>
            <a:off x="3686795" y="4091127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8F5989B-571E-486A-9CE6-A20BF85E952E}"/>
              </a:ext>
            </a:extLst>
          </p:cNvPr>
          <p:cNvCxnSpPr>
            <a:cxnSpLocks/>
          </p:cNvCxnSpPr>
          <p:nvPr/>
        </p:nvCxnSpPr>
        <p:spPr>
          <a:xfrm>
            <a:off x="3328956" y="4316749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CC897288-85DF-4FD1-AC2B-1D686054D498}"/>
              </a:ext>
            </a:extLst>
          </p:cNvPr>
          <p:cNvSpPr/>
          <p:nvPr/>
        </p:nvSpPr>
        <p:spPr>
          <a:xfrm>
            <a:off x="3273433" y="4012936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20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46315D05-0A44-4D40-8015-FFB243B6F888}"/>
              </a:ext>
            </a:extLst>
          </p:cNvPr>
          <p:cNvSpPr/>
          <p:nvPr/>
        </p:nvSpPr>
        <p:spPr>
          <a:xfrm>
            <a:off x="7716184" y="1363612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F7C86F9B-E855-4585-9651-9E2D000AD98D}"/>
              </a:ext>
            </a:extLst>
          </p:cNvPr>
          <p:cNvCxnSpPr>
            <a:cxnSpLocks/>
          </p:cNvCxnSpPr>
          <p:nvPr/>
        </p:nvCxnSpPr>
        <p:spPr>
          <a:xfrm>
            <a:off x="7358345" y="1589234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A00D27EC-8A67-4A1B-AA51-A40BFE81A5A5}"/>
              </a:ext>
            </a:extLst>
          </p:cNvPr>
          <p:cNvSpPr/>
          <p:nvPr/>
        </p:nvSpPr>
        <p:spPr>
          <a:xfrm>
            <a:off x="7302822" y="1285421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02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E7EAEEA-E0E7-4B3D-B304-332CA0F80B87}"/>
              </a:ext>
            </a:extLst>
          </p:cNvPr>
          <p:cNvSpPr/>
          <p:nvPr/>
        </p:nvSpPr>
        <p:spPr>
          <a:xfrm>
            <a:off x="7716184" y="2041476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AF75AB56-E43E-447B-B4B3-9B19EF1F6CB5}"/>
              </a:ext>
            </a:extLst>
          </p:cNvPr>
          <p:cNvCxnSpPr>
            <a:cxnSpLocks/>
          </p:cNvCxnSpPr>
          <p:nvPr/>
        </p:nvCxnSpPr>
        <p:spPr>
          <a:xfrm>
            <a:off x="7358345" y="2271709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DDEAD6D4-CD0E-47BC-AB9D-161BB80BB305}"/>
              </a:ext>
            </a:extLst>
          </p:cNvPr>
          <p:cNvSpPr/>
          <p:nvPr/>
        </p:nvSpPr>
        <p:spPr>
          <a:xfrm>
            <a:off x="7302822" y="1967896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09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A21CEED-F88E-40D7-B1E8-F6898711C6D3}"/>
              </a:ext>
            </a:extLst>
          </p:cNvPr>
          <p:cNvSpPr/>
          <p:nvPr/>
        </p:nvSpPr>
        <p:spPr>
          <a:xfrm>
            <a:off x="7716184" y="2723951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593CA93-F28E-40F7-A876-7511C5570A06}"/>
              </a:ext>
            </a:extLst>
          </p:cNvPr>
          <p:cNvCxnSpPr>
            <a:cxnSpLocks/>
          </p:cNvCxnSpPr>
          <p:nvPr/>
        </p:nvCxnSpPr>
        <p:spPr>
          <a:xfrm>
            <a:off x="7358345" y="2949573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EE7D47D6-F4E8-4F27-AA83-A907D1E5C464}"/>
              </a:ext>
            </a:extLst>
          </p:cNvPr>
          <p:cNvSpPr/>
          <p:nvPr/>
        </p:nvSpPr>
        <p:spPr>
          <a:xfrm>
            <a:off x="7302822" y="2645760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10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FFB85D95-23AE-446D-9940-622EC9E9C2F2}"/>
              </a:ext>
            </a:extLst>
          </p:cNvPr>
          <p:cNvSpPr/>
          <p:nvPr/>
        </p:nvSpPr>
        <p:spPr>
          <a:xfrm>
            <a:off x="7716184" y="3408653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C3B4C061-FFB8-4FF4-AAEF-6999BA2584BE}"/>
              </a:ext>
            </a:extLst>
          </p:cNvPr>
          <p:cNvCxnSpPr>
            <a:cxnSpLocks/>
          </p:cNvCxnSpPr>
          <p:nvPr/>
        </p:nvCxnSpPr>
        <p:spPr>
          <a:xfrm>
            <a:off x="7358345" y="3632048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F4D9C181-9FE9-4EAD-B3F7-F9F11D9E0546}"/>
              </a:ext>
            </a:extLst>
          </p:cNvPr>
          <p:cNvSpPr/>
          <p:nvPr/>
        </p:nvSpPr>
        <p:spPr>
          <a:xfrm>
            <a:off x="7302822" y="3328235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15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EB7FF55A-7557-494D-A2E2-8BD2ECCC03BD}"/>
              </a:ext>
            </a:extLst>
          </p:cNvPr>
          <p:cNvSpPr/>
          <p:nvPr/>
        </p:nvSpPr>
        <p:spPr>
          <a:xfrm>
            <a:off x="7716184" y="4091127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8C4B7284-1BD2-461F-8553-16230AAB5013}"/>
              </a:ext>
            </a:extLst>
          </p:cNvPr>
          <p:cNvCxnSpPr>
            <a:cxnSpLocks/>
          </p:cNvCxnSpPr>
          <p:nvPr/>
        </p:nvCxnSpPr>
        <p:spPr>
          <a:xfrm>
            <a:off x="7358345" y="4316749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DB8A3576-EF2A-43EB-A86F-92450F9469DD}"/>
              </a:ext>
            </a:extLst>
          </p:cNvPr>
          <p:cNvSpPr/>
          <p:nvPr/>
        </p:nvSpPr>
        <p:spPr>
          <a:xfrm>
            <a:off x="7302822" y="4012936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20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EE7AA7D-5EB6-4AA2-915B-D16BDC1F4B02}"/>
              </a:ext>
            </a:extLst>
          </p:cNvPr>
          <p:cNvCxnSpPr/>
          <p:nvPr/>
        </p:nvCxnSpPr>
        <p:spPr>
          <a:xfrm>
            <a:off x="606753" y="3909834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itle 1">
            <a:extLst>
              <a:ext uri="{FF2B5EF4-FFF2-40B4-BE49-F238E27FC236}">
                <a16:creationId xmlns:a16="http://schemas.microsoft.com/office/drawing/2014/main" id="{31F89735-73E5-442B-884A-95E8DA0D74E4}"/>
              </a:ext>
            </a:extLst>
          </p:cNvPr>
          <p:cNvSpPr txBox="1">
            <a:spLocks/>
          </p:cNvSpPr>
          <p:nvPr/>
        </p:nvSpPr>
        <p:spPr>
          <a:xfrm>
            <a:off x="551738" y="3194209"/>
            <a:ext cx="1783689" cy="4555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200"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9E290001-EF7A-4828-B89D-A96171AEE2A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220" y="363125"/>
            <a:ext cx="1073080" cy="455405"/>
          </a:xfrm>
          <a:prstGeom prst="rect">
            <a:avLst/>
          </a:prstGeom>
          <a:noFill/>
          <a:ln>
            <a:noFill/>
          </a:ln>
        </p:spPr>
      </p:pic>
      <p:sp>
        <p:nvSpPr>
          <p:cNvPr id="76" name="Rectangle 75">
            <a:extLst>
              <a:ext uri="{FF2B5EF4-FFF2-40B4-BE49-F238E27FC236}">
                <a16:creationId xmlns:a16="http://schemas.microsoft.com/office/drawing/2014/main" id="{0CDDDA25-F1DA-46F7-B07A-26DAE09F7311}"/>
              </a:ext>
            </a:extLst>
          </p:cNvPr>
          <p:cNvSpPr/>
          <p:nvPr/>
        </p:nvSpPr>
        <p:spPr>
          <a:xfrm>
            <a:off x="3332799" y="5995815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 dirty="0">
                <a:solidFill>
                  <a:srgbClr val="D82435"/>
                </a:solidFill>
                <a:latin typeface="Nexa Bold" panose="02000000000000000000" pitchFamily="50" charset="0"/>
              </a:rPr>
              <a:t>APPENDIX A  </a:t>
            </a:r>
            <a:r>
              <a:rPr lang="en-ID" sz="1100" dirty="0">
                <a:solidFill>
                  <a:srgbClr val="D82435"/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0BBD00E-630D-4505-84EF-235136F3C60C}"/>
              </a:ext>
            </a:extLst>
          </p:cNvPr>
          <p:cNvSpPr/>
          <p:nvPr/>
        </p:nvSpPr>
        <p:spPr>
          <a:xfrm>
            <a:off x="3332799" y="6291366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 dirty="0">
                <a:solidFill>
                  <a:srgbClr val="D82435"/>
                </a:solidFill>
                <a:latin typeface="Nexa Bold" panose="02000000000000000000" pitchFamily="50" charset="0"/>
              </a:rPr>
              <a:t>APPENDIX B  </a:t>
            </a:r>
            <a:r>
              <a:rPr lang="en-ID" sz="1100" dirty="0">
                <a:solidFill>
                  <a:srgbClr val="D82435"/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464CC38A-8E58-42FB-A004-DCDDAC1F5BE0}"/>
              </a:ext>
            </a:extLst>
          </p:cNvPr>
          <p:cNvSpPr/>
          <p:nvPr/>
        </p:nvSpPr>
        <p:spPr>
          <a:xfrm>
            <a:off x="7312742" y="5993699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 dirty="0">
                <a:solidFill>
                  <a:srgbClr val="D82435"/>
                </a:solidFill>
                <a:latin typeface="Nexa Bold" panose="02000000000000000000" pitchFamily="50" charset="0"/>
              </a:rPr>
              <a:t>APPENDIX C  </a:t>
            </a:r>
            <a:r>
              <a:rPr lang="en-ID" sz="1100" dirty="0">
                <a:solidFill>
                  <a:srgbClr val="D82435"/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C85CECD-FD07-4B8A-BA45-05F0E8718B0D}"/>
              </a:ext>
            </a:extLst>
          </p:cNvPr>
          <p:cNvSpPr/>
          <p:nvPr/>
        </p:nvSpPr>
        <p:spPr>
          <a:xfrm>
            <a:off x="7312742" y="6289249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 dirty="0">
                <a:solidFill>
                  <a:srgbClr val="D82435"/>
                </a:solidFill>
                <a:latin typeface="Nexa Bold" panose="02000000000000000000" pitchFamily="50" charset="0"/>
              </a:rPr>
              <a:t>APPENDIX D  </a:t>
            </a:r>
            <a:r>
              <a:rPr lang="en-ID" sz="1100" b="0" dirty="0">
                <a:solidFill>
                  <a:srgbClr val="D82435"/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5AB63BEF-B171-418D-AEC9-537BFB0D7E15}"/>
              </a:ext>
            </a:extLst>
          </p:cNvPr>
          <p:cNvSpPr/>
          <p:nvPr/>
        </p:nvSpPr>
        <p:spPr>
          <a:xfrm>
            <a:off x="4355142" y="5995815"/>
            <a:ext cx="184630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F1FF25D-E6AB-49C5-8D12-5E5CDF76A078}"/>
              </a:ext>
            </a:extLst>
          </p:cNvPr>
          <p:cNvSpPr/>
          <p:nvPr/>
        </p:nvSpPr>
        <p:spPr>
          <a:xfrm>
            <a:off x="4355141" y="6291365"/>
            <a:ext cx="1846303" cy="2073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06B480D9-4CB4-4A86-BE49-CDE3D1C0469A}"/>
              </a:ext>
            </a:extLst>
          </p:cNvPr>
          <p:cNvSpPr/>
          <p:nvPr/>
        </p:nvSpPr>
        <p:spPr>
          <a:xfrm>
            <a:off x="8335084" y="5993698"/>
            <a:ext cx="1846303" cy="2073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7E96864E-A4D1-4B54-AA86-267F4EC0C780}"/>
              </a:ext>
            </a:extLst>
          </p:cNvPr>
          <p:cNvSpPr/>
          <p:nvPr/>
        </p:nvSpPr>
        <p:spPr>
          <a:xfrm>
            <a:off x="8335084" y="6289248"/>
            <a:ext cx="1846303" cy="2073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48" name="Footer Placeholder 4">
            <a:extLst>
              <a:ext uri="{FF2B5EF4-FFF2-40B4-BE49-F238E27FC236}">
                <a16:creationId xmlns:a16="http://schemas.microsoft.com/office/drawing/2014/main" id="{BBEFAD99-8805-49F8-BCDE-765A5F378CAC}"/>
              </a:ext>
            </a:extLst>
          </p:cNvPr>
          <p:cNvSpPr txBox="1">
            <a:spLocks/>
          </p:cNvSpPr>
          <p:nvPr/>
        </p:nvSpPr>
        <p:spPr>
          <a:xfrm>
            <a:off x="11295586" y="6341710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CONFIDINTIAL</a:t>
            </a:r>
          </a:p>
        </p:txBody>
      </p:sp>
    </p:spTree>
    <p:extLst>
      <p:ext uri="{BB962C8B-B14F-4D97-AF65-F5344CB8AC3E}">
        <p14:creationId xmlns:p14="http://schemas.microsoft.com/office/powerpoint/2010/main" val="269781355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26007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509157"/>
            <a:ext cx="2743200" cy="154799"/>
          </a:xfrm>
        </p:spPr>
        <p:txBody>
          <a:bodyPr/>
          <a:lstStyle>
            <a:lvl1pPr>
              <a:defRPr sz="1000"/>
            </a:lvl1pPr>
          </a:lstStyle>
          <a:p>
            <a:fld id="{21BF7FEE-206E-4713-A47C-A3B6CA8643FE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509157"/>
            <a:ext cx="4114800" cy="154800"/>
          </a:xfrm>
        </p:spPr>
        <p:txBody>
          <a:bodyPr lIns="0" tIns="0" rIns="0" bIns="0" anchor="ctr" anchorCtr="0"/>
          <a:lstStyle>
            <a:lvl1pPr algn="l"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372357"/>
            <a:ext cx="302400" cy="428400"/>
          </a:xfrm>
        </p:spPr>
        <p:txBody>
          <a:bodyPr lIns="0" tIns="0" rIns="0" bIns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734326" y="6751320"/>
            <a:ext cx="415743" cy="10668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734326" y="6269548"/>
            <a:ext cx="102816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72349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13" name="Slide Number Placeholder 10"/>
          <p:cNvSpPr txBox="1">
            <a:spLocks/>
          </p:cNvSpPr>
          <p:nvPr/>
        </p:nvSpPr>
        <p:spPr>
          <a:xfrm>
            <a:off x="791332" y="6697844"/>
            <a:ext cx="302400" cy="123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20" name="Rectangle 19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734326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/>
          </a:p>
        </p:txBody>
      </p:sp>
      <p:sp>
        <p:nvSpPr>
          <p:cNvPr id="24" name="Isosceles Triangle 23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9"/>
            <a:ext cx="2743200" cy="154799"/>
          </a:xfrm>
        </p:spPr>
        <p:txBody>
          <a:bodyPr tIns="36000" bIns="36000"/>
          <a:lstStyle>
            <a:lvl1pPr rtl="0">
              <a:defRPr sz="700">
                <a:solidFill>
                  <a:srgbClr val="D82435"/>
                </a:solidFill>
              </a:defRPr>
            </a:lvl1pPr>
          </a:lstStyle>
          <a:p>
            <a:fld id="{BEB1BD4B-EC27-48C8-A7AA-0AD9323B3C26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721758"/>
            <a:ext cx="4114800" cy="154800"/>
          </a:xfrm>
        </p:spPr>
        <p:txBody>
          <a:bodyPr lIns="0" tIns="36000" rIns="0" bIns="36000" anchor="ctr" anchorCtr="0"/>
          <a:lstStyle>
            <a:lvl1pPr algn="l" rtl="0">
              <a:defRPr sz="70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lIns="0" tIns="36000" rIns="0" bIns="36000">
            <a:noAutofit/>
          </a:bodyPr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305234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10"/>
          <p:cNvSpPr txBox="1">
            <a:spLocks/>
          </p:cNvSpPr>
          <p:nvPr/>
        </p:nvSpPr>
        <p:spPr>
          <a:xfrm>
            <a:off x="791332" y="6697844"/>
            <a:ext cx="302400" cy="123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1" name="Rectangle 10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734326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/>
          </a:p>
        </p:txBody>
      </p:sp>
      <p:sp>
        <p:nvSpPr>
          <p:cNvPr id="16" name="Isosceles Triangle 15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vert="horz" lIns="0" tIns="36000" rIns="0" bIns="36000" rtlCol="0" anchor="ctr">
            <a:noAutofit/>
          </a:bodyPr>
          <a:lstStyle>
            <a:lvl1pPr algn="ctr">
              <a:defRPr lang="id-ID" sz="700" smtClean="0">
                <a:solidFill>
                  <a:schemeClr val="bg1"/>
                </a:solidFill>
                <a:latin typeface="+mj-lt"/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8"/>
            <a:ext cx="2743200" cy="154799"/>
          </a:xfrm>
        </p:spPr>
        <p:txBody>
          <a:bodyPr vert="horz" lIns="91440" tIns="36000" rIns="91440" bIns="36000" rtlCol="0" anchor="ctr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fld id="{2B10A5F3-6363-49FE-B1E7-CB9F6FED56F6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721758"/>
            <a:ext cx="4114800" cy="154800"/>
          </a:xfrm>
        </p:spPr>
        <p:txBody>
          <a:bodyPr vert="horz" lIns="0" tIns="36000" rIns="0" bIns="36000" rtlCol="0" anchor="ctr" anchorCtr="0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165385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31A71235-3D94-BE4C-8C7D-2413AFB66234}"/>
              </a:ext>
            </a:extLst>
          </p:cNvPr>
          <p:cNvSpPr/>
          <p:nvPr/>
        </p:nvSpPr>
        <p:spPr>
          <a:xfrm>
            <a:off x="1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0" name="Slide Number Placeholder 10"/>
          <p:cNvSpPr txBox="1">
            <a:spLocks/>
          </p:cNvSpPr>
          <p:nvPr/>
        </p:nvSpPr>
        <p:spPr>
          <a:xfrm>
            <a:off x="791332" y="6697844"/>
            <a:ext cx="302400" cy="123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1" name="Rectangle 10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734326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/>
          </a:p>
        </p:txBody>
      </p:sp>
      <p:sp>
        <p:nvSpPr>
          <p:cNvPr id="16" name="Isosceles Triangle 15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vert="horz" lIns="0" tIns="36000" rIns="0" bIns="36000" rtlCol="0" anchor="ctr">
            <a:noAutofit/>
          </a:bodyPr>
          <a:lstStyle>
            <a:lvl1pPr algn="ctr">
              <a:defRPr lang="id-ID" sz="700" b="1" i="0" smtClean="0">
                <a:solidFill>
                  <a:schemeClr val="bg1"/>
                </a:solidFill>
                <a:latin typeface="Nexa Bold" panose="02000000000000000000" pitchFamily="2" charset="0"/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8"/>
            <a:ext cx="2743200" cy="154799"/>
          </a:xfrm>
        </p:spPr>
        <p:txBody>
          <a:bodyPr vert="horz" lIns="91440" tIns="36000" rIns="91440" bIns="36000" rtlCol="0" anchor="ctr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fld id="{CD857D9E-C6CC-4E32-8553-F15534438DC0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721758"/>
            <a:ext cx="4114800" cy="154800"/>
          </a:xfrm>
        </p:spPr>
        <p:txBody>
          <a:bodyPr vert="horz" lIns="0" tIns="36000" rIns="0" bIns="36000" rtlCol="0" anchor="ctr" anchorCtr="0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368543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1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8474" y="5715000"/>
            <a:ext cx="2046606" cy="869703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730250" y="2463800"/>
            <a:ext cx="977900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250" y="2708275"/>
            <a:ext cx="8748224" cy="664797"/>
          </a:xfrm>
        </p:spPr>
        <p:txBody>
          <a:bodyPr lIns="0" tIns="0" rIns="0" bIns="0" anchor="t">
            <a:spAutoFit/>
          </a:bodyPr>
          <a:lstStyle>
            <a:lvl1pPr>
              <a:defRPr sz="4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0250" y="3671889"/>
            <a:ext cx="7080250" cy="455611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00">
                <a:solidFill>
                  <a:srgbClr val="D8243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083032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12192000" cy="6858001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FF585-EECD-4744-816A-083AA2597B39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0" y="-1"/>
            <a:ext cx="12192000" cy="6858000"/>
            <a:chOff x="0" y="0"/>
            <a:chExt cx="12192000" cy="6858000"/>
          </a:xfrm>
        </p:grpSpPr>
        <p:sp>
          <p:nvSpPr>
            <p:cNvPr id="7" name="Freeform 6"/>
            <p:cNvSpPr/>
            <p:nvPr/>
          </p:nvSpPr>
          <p:spPr>
            <a:xfrm>
              <a:off x="1" y="0"/>
              <a:ext cx="10755567" cy="6858000"/>
            </a:xfrm>
            <a:custGeom>
              <a:avLst/>
              <a:gdLst>
                <a:gd name="connsiteX0" fmla="*/ 0 w 10778328"/>
                <a:gd name="connsiteY0" fmla="*/ 0 h 6858000"/>
                <a:gd name="connsiteX1" fmla="*/ 8652602 w 10778328"/>
                <a:gd name="connsiteY1" fmla="*/ 0 h 6858000"/>
                <a:gd name="connsiteX2" fmla="*/ 10305791 w 10778328"/>
                <a:gd name="connsiteY2" fmla="*/ 1653189 h 6858000"/>
                <a:gd name="connsiteX3" fmla="*/ 10305791 w 10778328"/>
                <a:gd name="connsiteY3" fmla="*/ 3934802 h 6858000"/>
                <a:gd name="connsiteX4" fmla="*/ 7382593 w 10778328"/>
                <a:gd name="connsiteY4" fmla="*/ 6858000 h 6858000"/>
                <a:gd name="connsiteX5" fmla="*/ 0 w 10778328"/>
                <a:gd name="connsiteY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78328" h="6858000">
                  <a:moveTo>
                    <a:pt x="0" y="0"/>
                  </a:moveTo>
                  <a:lnTo>
                    <a:pt x="8652602" y="0"/>
                  </a:lnTo>
                  <a:lnTo>
                    <a:pt x="10305791" y="1653189"/>
                  </a:lnTo>
                  <a:cubicBezTo>
                    <a:pt x="10935841" y="2283239"/>
                    <a:pt x="10935841" y="3304752"/>
                    <a:pt x="10305791" y="3934802"/>
                  </a:cubicBezTo>
                  <a:lnTo>
                    <a:pt x="7382593" y="6858000"/>
                  </a:lnTo>
                  <a:lnTo>
                    <a:pt x="0" y="6858000"/>
                  </a:lnTo>
                  <a:close/>
                </a:path>
              </a:pathLst>
            </a:custGeom>
            <a:gradFill>
              <a:gsLst>
                <a:gs pos="80000">
                  <a:schemeClr val="bg1"/>
                </a:gs>
                <a:gs pos="21000">
                  <a:schemeClr val="bg1">
                    <a:alpha val="44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8" name="Freeform 7"/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>
                <a:gd name="connsiteX0" fmla="*/ 86343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7367004 w 12192000"/>
                <a:gd name="connsiteY3" fmla="*/ 6858000 h 6858000"/>
                <a:gd name="connsiteX4" fmla="*/ 10284029 w 12192000"/>
                <a:gd name="connsiteY4" fmla="*/ 3934802 h 6858000"/>
                <a:gd name="connsiteX5" fmla="*/ 10284029 w 12192000"/>
                <a:gd name="connsiteY5" fmla="*/ 1653189 h 6858000"/>
                <a:gd name="connsiteX6" fmla="*/ 0 w 12192000"/>
                <a:gd name="connsiteY6" fmla="*/ 0 h 6858000"/>
                <a:gd name="connsiteX7" fmla="*/ 1 w 12192000"/>
                <a:gd name="connsiteY7" fmla="*/ 0 h 6858000"/>
                <a:gd name="connsiteX8" fmla="*/ 1 w 12192000"/>
                <a:gd name="connsiteY8" fmla="*/ 6858000 h 6858000"/>
                <a:gd name="connsiteX9" fmla="*/ 0 w 12192000"/>
                <a:gd name="connsiteY9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92000" h="6858000">
                  <a:moveTo>
                    <a:pt x="8634331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7367004" y="6858000"/>
                  </a:lnTo>
                  <a:lnTo>
                    <a:pt x="10284029" y="3934802"/>
                  </a:lnTo>
                  <a:cubicBezTo>
                    <a:pt x="10912748" y="3304752"/>
                    <a:pt x="10912748" y="2283239"/>
                    <a:pt x="10284029" y="1653189"/>
                  </a:cubicBezTo>
                  <a:close/>
                  <a:moveTo>
                    <a:pt x="0" y="0"/>
                  </a:moveTo>
                  <a:lnTo>
                    <a:pt x="1" y="0"/>
                  </a:lnTo>
                  <a:lnTo>
                    <a:pt x="1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72000">
                  <a:srgbClr val="D82435">
                    <a:alpha val="11000"/>
                  </a:srgbClr>
                </a:gs>
                <a:gs pos="13000">
                  <a:srgbClr val="D82435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900" y="664021"/>
            <a:ext cx="2814433" cy="119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38188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06128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6">
            <a:extLst>
              <a:ext uri="{FF2B5EF4-FFF2-40B4-BE49-F238E27FC236}">
                <a16:creationId xmlns:a16="http://schemas.microsoft.com/office/drawing/2014/main" id="{A9E1E493-8350-430A-877B-88213893A13A}"/>
              </a:ext>
            </a:extLst>
          </p:cNvPr>
          <p:cNvSpPr/>
          <p:nvPr/>
        </p:nvSpPr>
        <p:spPr>
          <a:xfrm>
            <a:off x="16735" y="0"/>
            <a:ext cx="8738898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2A8495-68FC-463B-B919-DBE944FDC4F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6914" y="5841308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B02EE97-7C08-42D0-AC49-C893539184F9}"/>
              </a:ext>
            </a:extLst>
          </p:cNvPr>
          <p:cNvCxnSpPr/>
          <p:nvPr/>
        </p:nvCxnSpPr>
        <p:spPr>
          <a:xfrm>
            <a:off x="275943" y="4164118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1">
            <a:extLst>
              <a:ext uri="{FF2B5EF4-FFF2-40B4-BE49-F238E27FC236}">
                <a16:creationId xmlns:a16="http://schemas.microsoft.com/office/drawing/2014/main" id="{82EEDA8E-A90A-4D44-825A-05C74F95F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461" y="2889205"/>
            <a:ext cx="8196108" cy="512448"/>
          </a:xfrm>
        </p:spPr>
        <p:txBody>
          <a:bodyPr vert="horz" wrap="square" lIns="0" tIns="0" rIns="0" bIns="0" rtlCol="0" anchor="t">
            <a:spAutoFit/>
          </a:bodyPr>
          <a:lstStyle>
            <a:lvl1pPr algn="l" rtl="1">
              <a:defRPr lang="en-US"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ABA04E7-C09E-472D-A5A0-6C553F17BE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8461" y="3654773"/>
            <a:ext cx="7886392" cy="364202"/>
          </a:xfrm>
        </p:spPr>
        <p:txBody>
          <a:bodyPr vert="horz" wrap="square" lIns="0" tIns="0" rIns="0" bIns="0" rtlCol="0">
            <a:spAutoFit/>
          </a:bodyPr>
          <a:lstStyle>
            <a:lvl1pPr marL="0" indent="0" algn="l" rtl="1">
              <a:buNone/>
              <a:defRPr lang="en-US" sz="1800" smtClean="0">
                <a:solidFill>
                  <a:srgbClr val="D82435"/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666843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672"/>
          <a:stretch/>
        </p:blipFill>
        <p:spPr>
          <a:xfrm>
            <a:off x="-1" y="-1"/>
            <a:ext cx="10755567" cy="6858001"/>
          </a:xfrm>
          <a:custGeom>
            <a:avLst/>
            <a:gdLst>
              <a:gd name="connsiteX0" fmla="*/ 0 w 10755567"/>
              <a:gd name="connsiteY0" fmla="*/ 0 h 6858000"/>
              <a:gd name="connsiteX1" fmla="*/ 8634330 w 10755567"/>
              <a:gd name="connsiteY1" fmla="*/ 0 h 6858000"/>
              <a:gd name="connsiteX2" fmla="*/ 10284028 w 10755567"/>
              <a:gd name="connsiteY2" fmla="*/ 1653189 h 6858000"/>
              <a:gd name="connsiteX3" fmla="*/ 10284028 w 10755567"/>
              <a:gd name="connsiteY3" fmla="*/ 3934802 h 6858000"/>
              <a:gd name="connsiteX4" fmla="*/ 7367003 w 10755567"/>
              <a:gd name="connsiteY4" fmla="*/ 6858000 h 6858000"/>
              <a:gd name="connsiteX5" fmla="*/ 0 w 10755567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55567" h="6858000">
                <a:moveTo>
                  <a:pt x="0" y="0"/>
                </a:moveTo>
                <a:lnTo>
                  <a:pt x="8634330" y="0"/>
                </a:lnTo>
                <a:lnTo>
                  <a:pt x="10284028" y="1653189"/>
                </a:lnTo>
                <a:cubicBezTo>
                  <a:pt x="10912747" y="2283239"/>
                  <a:pt x="10912747" y="3304752"/>
                  <a:pt x="10284028" y="3934802"/>
                </a:cubicBezTo>
                <a:lnTo>
                  <a:pt x="736700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>
          <a:xfrm>
            <a:off x="0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72000">
                <a:srgbClr val="D82435">
                  <a:alpha val="11000"/>
                </a:srgbClr>
              </a:gs>
              <a:gs pos="13000">
                <a:srgbClr val="D8243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66410" y="5715000"/>
            <a:ext cx="2046606" cy="86970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10860" y="3883937"/>
            <a:ext cx="5537640" cy="919512"/>
          </a:xfrm>
        </p:spPr>
        <p:txBody>
          <a:bodyPr lIns="0" tIns="0" rIns="0" bIns="0" anchor="b">
            <a:normAutofit/>
          </a:bodyPr>
          <a:lstStyle>
            <a:lvl1pPr algn="l"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0860" y="5309150"/>
            <a:ext cx="5537640" cy="2769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d-ID"/>
          </a:p>
        </p:txBody>
      </p:sp>
      <p:cxnSp>
        <p:nvCxnSpPr>
          <p:cNvPr id="18" name="Straight Connector 17"/>
          <p:cNvCxnSpPr/>
          <p:nvPr/>
        </p:nvCxnSpPr>
        <p:spPr>
          <a:xfrm>
            <a:off x="1510860" y="5041836"/>
            <a:ext cx="97790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F01C9035-487A-4D36-8465-FC9817FC1CFB}"/>
              </a:ext>
            </a:extLst>
          </p:cNvPr>
          <p:cNvSpPr/>
          <p:nvPr/>
        </p:nvSpPr>
        <p:spPr>
          <a:xfrm>
            <a:off x="1304980" y="6687876"/>
            <a:ext cx="92377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900" dirty="0">
                <a:solidFill>
                  <a:schemeClr val="bg1">
                    <a:lumMod val="85000"/>
                  </a:schemeClr>
                </a:solidFill>
              </a:rPr>
              <a:t>This document is confidential and any unauthorized use without the permission of Kafaa is prohibited.	</a:t>
            </a:r>
          </a:p>
        </p:txBody>
      </p:sp>
    </p:spTree>
    <p:extLst>
      <p:ext uri="{BB962C8B-B14F-4D97-AF65-F5344CB8AC3E}">
        <p14:creationId xmlns:p14="http://schemas.microsoft.com/office/powerpoint/2010/main" val="13201732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6">
            <a:extLst>
              <a:ext uri="{FF2B5EF4-FFF2-40B4-BE49-F238E27FC236}">
                <a16:creationId xmlns:a16="http://schemas.microsoft.com/office/drawing/2014/main" id="{A9E1E493-8350-430A-877B-88213893A13A}"/>
              </a:ext>
            </a:extLst>
          </p:cNvPr>
          <p:cNvSpPr/>
          <p:nvPr/>
        </p:nvSpPr>
        <p:spPr>
          <a:xfrm>
            <a:off x="1" y="0"/>
            <a:ext cx="8738898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2A8495-68FC-463B-B919-DBE944FDC4F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1109" y="5841308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B02EE97-7C08-42D0-AC49-C893539184F9}"/>
              </a:ext>
            </a:extLst>
          </p:cNvPr>
          <p:cNvCxnSpPr/>
          <p:nvPr/>
        </p:nvCxnSpPr>
        <p:spPr>
          <a:xfrm>
            <a:off x="603376" y="4164118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1">
            <a:extLst>
              <a:ext uri="{FF2B5EF4-FFF2-40B4-BE49-F238E27FC236}">
                <a16:creationId xmlns:a16="http://schemas.microsoft.com/office/drawing/2014/main" id="{82EEDA8E-A90A-4D44-825A-05C74F95F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3376" y="2889205"/>
            <a:ext cx="8543925" cy="512448"/>
          </a:xfrm>
        </p:spPr>
        <p:txBody>
          <a:bodyPr vert="horz" lIns="0" tIns="0" rIns="0" bIns="0" rtlCol="0" anchor="t">
            <a:spAutoFit/>
          </a:bodyPr>
          <a:lstStyle>
            <a:lvl1pPr>
              <a:defRPr lang="en-US"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ABA04E7-C09E-472D-A5A0-6C553F17BE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3376" y="3654773"/>
            <a:ext cx="8543925" cy="256224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800" smtClean="0">
                <a:solidFill>
                  <a:srgbClr val="D82435"/>
                </a:solidFill>
                <a:latin typeface="Nexa Light" panose="020000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F0C4CA9-C3A9-41C1-A649-D22EC3690A73}"/>
              </a:ext>
            </a:extLst>
          </p:cNvPr>
          <p:cNvSpPr txBox="1">
            <a:spLocks/>
          </p:cNvSpPr>
          <p:nvPr/>
        </p:nvSpPr>
        <p:spPr>
          <a:xfrm>
            <a:off x="11295586" y="319088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CONFIDINTIAL</a:t>
            </a:r>
          </a:p>
        </p:txBody>
      </p:sp>
    </p:spTree>
    <p:extLst>
      <p:ext uri="{BB962C8B-B14F-4D97-AF65-F5344CB8AC3E}">
        <p14:creationId xmlns:p14="http://schemas.microsoft.com/office/powerpoint/2010/main" val="153370532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509157"/>
            <a:ext cx="2743200" cy="154799"/>
          </a:xfrm>
        </p:spPr>
        <p:txBody>
          <a:bodyPr/>
          <a:lstStyle>
            <a:lvl1pPr>
              <a:defRPr sz="1000"/>
            </a:lvl1pPr>
          </a:lstStyle>
          <a:p>
            <a:fld id="{986994FF-B1D8-4EAA-8159-FCCD9BB647B4}" type="datetime1">
              <a:rPr lang="id-ID" smtClean="0"/>
              <a:t>20/08/2025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509157"/>
            <a:ext cx="4114800" cy="154800"/>
          </a:xfrm>
        </p:spPr>
        <p:txBody>
          <a:bodyPr lIns="0" tIns="0" rIns="0" bIns="0" anchor="ctr" anchorCtr="0"/>
          <a:lstStyle>
            <a:lvl1pPr algn="l">
              <a:defRPr sz="1000"/>
            </a:lvl1pPr>
          </a:lstStyle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372357"/>
            <a:ext cx="302400" cy="428400"/>
          </a:xfrm>
        </p:spPr>
        <p:txBody>
          <a:bodyPr lIns="0" tIns="0" rIns="0" bIns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2" name="Rectangle 11"/>
          <p:cNvSpPr/>
          <p:nvPr/>
        </p:nvSpPr>
        <p:spPr>
          <a:xfrm>
            <a:off x="734326" y="6751320"/>
            <a:ext cx="415743" cy="10668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734326" y="6269548"/>
            <a:ext cx="102816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63027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12089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509157"/>
            <a:ext cx="2743200" cy="154799"/>
          </a:xfrm>
        </p:spPr>
        <p:txBody>
          <a:bodyPr/>
          <a:lstStyle>
            <a:lvl1pPr>
              <a:defRPr sz="1000"/>
            </a:lvl1pPr>
          </a:lstStyle>
          <a:p>
            <a:fld id="{0FB78D4E-E9AF-4829-B5F7-174BC60DD724}" type="datetime1">
              <a:rPr lang="id-ID" smtClean="0"/>
              <a:t>20/08/2025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509157"/>
            <a:ext cx="4114800" cy="154800"/>
          </a:xfrm>
        </p:spPr>
        <p:txBody>
          <a:bodyPr lIns="0" tIns="0" rIns="0" bIns="0" anchor="ctr" anchorCtr="0"/>
          <a:lstStyle>
            <a:lvl1pPr algn="l">
              <a:defRPr sz="1000"/>
            </a:lvl1pPr>
          </a:lstStyle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372357"/>
            <a:ext cx="302400" cy="428400"/>
          </a:xfrm>
        </p:spPr>
        <p:txBody>
          <a:bodyPr lIns="0" tIns="0" rIns="0" bIns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2" name="Rectangle 11"/>
          <p:cNvSpPr/>
          <p:nvPr/>
        </p:nvSpPr>
        <p:spPr>
          <a:xfrm>
            <a:off x="734326" y="6751320"/>
            <a:ext cx="415743" cy="10668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734326" y="6269548"/>
            <a:ext cx="102816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39281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20" name="Rectangle 19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734326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/>
          </a:p>
        </p:txBody>
      </p:sp>
      <p:sp>
        <p:nvSpPr>
          <p:cNvPr id="24" name="Isosceles Triangle 23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9"/>
            <a:ext cx="2743200" cy="154799"/>
          </a:xfrm>
        </p:spPr>
        <p:txBody>
          <a:bodyPr tIns="36000" bIns="36000"/>
          <a:lstStyle>
            <a:lvl1pPr rtl="0">
              <a:defRPr sz="700">
                <a:solidFill>
                  <a:srgbClr val="D82435"/>
                </a:solidFill>
              </a:defRPr>
            </a:lvl1pPr>
          </a:lstStyle>
          <a:p>
            <a:fld id="{06C801DD-A7D0-457B-8CA5-F330F30463D9}" type="datetime1">
              <a:rPr lang="id-ID" smtClean="0"/>
              <a:t>20/08/2025</a:t>
            </a:fld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lIns="0" tIns="36000" rIns="0" bIns="36000">
            <a:noAutofit/>
          </a:bodyPr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ACD2C71-09BC-40E8-992E-F53D72637942}"/>
              </a:ext>
            </a:extLst>
          </p:cNvPr>
          <p:cNvSpPr/>
          <p:nvPr/>
        </p:nvSpPr>
        <p:spPr>
          <a:xfrm>
            <a:off x="1304980" y="6674228"/>
            <a:ext cx="92377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900" b="1" dirty="0">
                <a:solidFill>
                  <a:srgbClr val="DC3949"/>
                </a:solidFill>
              </a:rPr>
              <a:t>This document is confidential and any unauthorized use without the permission of Kafaa is prohibited.	</a:t>
            </a:r>
          </a:p>
        </p:txBody>
      </p:sp>
    </p:spTree>
    <p:extLst>
      <p:ext uri="{BB962C8B-B14F-4D97-AF65-F5344CB8AC3E}">
        <p14:creationId xmlns:p14="http://schemas.microsoft.com/office/powerpoint/2010/main" val="17211268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7B8D06D0-3D7C-4A29-BDE2-52CFADC0DCF2}"/>
              </a:ext>
            </a:extLst>
          </p:cNvPr>
          <p:cNvSpPr/>
          <p:nvPr/>
        </p:nvSpPr>
        <p:spPr>
          <a:xfrm>
            <a:off x="734660" y="6660456"/>
            <a:ext cx="415743" cy="197544"/>
          </a:xfrm>
          <a:prstGeom prst="round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lide Number Placeholder 10"/>
          <p:cNvSpPr txBox="1">
            <a:spLocks/>
          </p:cNvSpPr>
          <p:nvPr/>
        </p:nvSpPr>
        <p:spPr>
          <a:xfrm>
            <a:off x="791332" y="6697844"/>
            <a:ext cx="302400" cy="123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6" name="Isosceles Triangle 15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vert="horz" lIns="0" tIns="36000" rIns="0" bIns="36000" rtlCol="0" anchor="ctr">
            <a:noAutofit/>
          </a:bodyPr>
          <a:lstStyle>
            <a:lvl1pPr algn="ctr">
              <a:defRPr lang="id-ID" sz="700" smtClean="0">
                <a:solidFill>
                  <a:schemeClr val="bg1"/>
                </a:solidFill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8"/>
            <a:ext cx="2743200" cy="154799"/>
          </a:xfrm>
        </p:spPr>
        <p:txBody>
          <a:bodyPr vert="horz" lIns="91440" tIns="36000" rIns="91440" bIns="36000" rtlCol="0" anchor="ctr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fld id="{3A9A5C08-7C95-49BD-9B8B-31BE33F209A1}" type="datetime1">
              <a:rPr lang="id-ID" smtClean="0"/>
              <a:t>20/08/2025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721758"/>
            <a:ext cx="4114800" cy="154800"/>
          </a:xfrm>
        </p:spPr>
        <p:txBody>
          <a:bodyPr vert="horz" lIns="0" tIns="36000" rIns="0" bIns="36000" rtlCol="0" anchor="ctr" anchorCtr="0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35984653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1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8474" y="5715000"/>
            <a:ext cx="2046606" cy="869703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730250" y="2463800"/>
            <a:ext cx="977900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250" y="2708275"/>
            <a:ext cx="8748224" cy="664797"/>
          </a:xfrm>
        </p:spPr>
        <p:txBody>
          <a:bodyPr lIns="0" tIns="0" rIns="0" bIns="0" anchor="t">
            <a:spAutoFit/>
          </a:bodyPr>
          <a:lstStyle>
            <a:lvl1pPr>
              <a:defRPr sz="4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0250" y="3671889"/>
            <a:ext cx="7080250" cy="455611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00">
                <a:solidFill>
                  <a:srgbClr val="D8243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229654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12192000" cy="6858001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56747D-6EFC-4E6A-8590-58DC1588AB1B}" type="datetime1">
              <a:rPr lang="id-ID" smtClean="0"/>
              <a:t>20/08/2025</a:t>
            </a:fld>
            <a:endParaRPr lang="id-ID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F5E4-35CF-4C29-B9F8-D683A03DA2A9}" type="slidenum">
              <a:rPr lang="id-ID" smtClean="0"/>
              <a:t>‹#›</a:t>
            </a:fld>
            <a:endParaRPr lang="id-ID"/>
          </a:p>
        </p:txBody>
      </p:sp>
      <p:grpSp>
        <p:nvGrpSpPr>
          <p:cNvPr id="6" name="Group 5"/>
          <p:cNvGrpSpPr/>
          <p:nvPr/>
        </p:nvGrpSpPr>
        <p:grpSpPr>
          <a:xfrm>
            <a:off x="0" y="-1"/>
            <a:ext cx="12192000" cy="6858000"/>
            <a:chOff x="0" y="0"/>
            <a:chExt cx="12192000" cy="6858000"/>
          </a:xfrm>
        </p:grpSpPr>
        <p:sp>
          <p:nvSpPr>
            <p:cNvPr id="7" name="Freeform 6"/>
            <p:cNvSpPr/>
            <p:nvPr/>
          </p:nvSpPr>
          <p:spPr>
            <a:xfrm>
              <a:off x="1" y="0"/>
              <a:ext cx="10755567" cy="6858000"/>
            </a:xfrm>
            <a:custGeom>
              <a:avLst/>
              <a:gdLst>
                <a:gd name="connsiteX0" fmla="*/ 0 w 10778328"/>
                <a:gd name="connsiteY0" fmla="*/ 0 h 6858000"/>
                <a:gd name="connsiteX1" fmla="*/ 8652602 w 10778328"/>
                <a:gd name="connsiteY1" fmla="*/ 0 h 6858000"/>
                <a:gd name="connsiteX2" fmla="*/ 10305791 w 10778328"/>
                <a:gd name="connsiteY2" fmla="*/ 1653189 h 6858000"/>
                <a:gd name="connsiteX3" fmla="*/ 10305791 w 10778328"/>
                <a:gd name="connsiteY3" fmla="*/ 3934802 h 6858000"/>
                <a:gd name="connsiteX4" fmla="*/ 7382593 w 10778328"/>
                <a:gd name="connsiteY4" fmla="*/ 6858000 h 6858000"/>
                <a:gd name="connsiteX5" fmla="*/ 0 w 10778328"/>
                <a:gd name="connsiteY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78328" h="6858000">
                  <a:moveTo>
                    <a:pt x="0" y="0"/>
                  </a:moveTo>
                  <a:lnTo>
                    <a:pt x="8652602" y="0"/>
                  </a:lnTo>
                  <a:lnTo>
                    <a:pt x="10305791" y="1653189"/>
                  </a:lnTo>
                  <a:cubicBezTo>
                    <a:pt x="10935841" y="2283239"/>
                    <a:pt x="10935841" y="3304752"/>
                    <a:pt x="10305791" y="3934802"/>
                  </a:cubicBezTo>
                  <a:lnTo>
                    <a:pt x="7382593" y="6858000"/>
                  </a:lnTo>
                  <a:lnTo>
                    <a:pt x="0" y="6858000"/>
                  </a:lnTo>
                  <a:close/>
                </a:path>
              </a:pathLst>
            </a:custGeom>
            <a:gradFill>
              <a:gsLst>
                <a:gs pos="80000">
                  <a:schemeClr val="bg1"/>
                </a:gs>
                <a:gs pos="21000">
                  <a:schemeClr val="bg1">
                    <a:alpha val="44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8" name="Freeform 7"/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>
                <a:gd name="connsiteX0" fmla="*/ 86343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7367004 w 12192000"/>
                <a:gd name="connsiteY3" fmla="*/ 6858000 h 6858000"/>
                <a:gd name="connsiteX4" fmla="*/ 10284029 w 12192000"/>
                <a:gd name="connsiteY4" fmla="*/ 3934802 h 6858000"/>
                <a:gd name="connsiteX5" fmla="*/ 10284029 w 12192000"/>
                <a:gd name="connsiteY5" fmla="*/ 1653189 h 6858000"/>
                <a:gd name="connsiteX6" fmla="*/ 0 w 12192000"/>
                <a:gd name="connsiteY6" fmla="*/ 0 h 6858000"/>
                <a:gd name="connsiteX7" fmla="*/ 1 w 12192000"/>
                <a:gd name="connsiteY7" fmla="*/ 0 h 6858000"/>
                <a:gd name="connsiteX8" fmla="*/ 1 w 12192000"/>
                <a:gd name="connsiteY8" fmla="*/ 6858000 h 6858000"/>
                <a:gd name="connsiteX9" fmla="*/ 0 w 12192000"/>
                <a:gd name="connsiteY9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92000" h="6858000">
                  <a:moveTo>
                    <a:pt x="8634331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7367004" y="6858000"/>
                  </a:lnTo>
                  <a:lnTo>
                    <a:pt x="10284029" y="3934802"/>
                  </a:lnTo>
                  <a:cubicBezTo>
                    <a:pt x="10912748" y="3304752"/>
                    <a:pt x="10912748" y="2283239"/>
                    <a:pt x="10284029" y="1653189"/>
                  </a:cubicBezTo>
                  <a:close/>
                  <a:moveTo>
                    <a:pt x="0" y="0"/>
                  </a:moveTo>
                  <a:lnTo>
                    <a:pt x="1" y="0"/>
                  </a:lnTo>
                  <a:lnTo>
                    <a:pt x="1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72000">
                  <a:srgbClr val="D82435">
                    <a:alpha val="11000"/>
                  </a:srgbClr>
                </a:gs>
                <a:gs pos="13000">
                  <a:srgbClr val="D82435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900" y="664021"/>
            <a:ext cx="2814433" cy="119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7772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372607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D78EE-341D-435D-B9E3-882537A54E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45C01F-F4E8-4CA7-A8C9-5CBF834B7A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27C9C9-CC82-457D-ADFD-48D3870AE1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99EF50-3E9F-4C3F-82A6-E52061365C8D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8A195C-FC90-4769-B2A2-5CE60AF5D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93DC19-AA4A-4CA1-BBAC-8D9E97ABF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1A8BE1-0559-494D-8385-07FBF7B67D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133011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BE8710-BF83-49CE-8017-91FFCBDFD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41B5B5-3170-42B6-ABFD-8D28E90ED6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DE149D-E4DC-416D-B9E6-4199A8F052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00A3E3-E8B0-40AD-B739-96DD871FC3C5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DF6145-26AE-4DD1-9255-6EA4A88F7B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512FCC-97F1-4E2C-9E69-E03DA80F5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1A8BE1-0559-494D-8385-07FBF7B67D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54076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0A554A07-6BDD-490E-B32C-6F96CE61FF7D}"/>
              </a:ext>
            </a:extLst>
          </p:cNvPr>
          <p:cNvGrpSpPr/>
          <p:nvPr/>
        </p:nvGrpSpPr>
        <p:grpSpPr>
          <a:xfrm>
            <a:off x="0" y="0"/>
            <a:ext cx="12215937" cy="6960075"/>
            <a:chOff x="1" y="-30631"/>
            <a:chExt cx="10049567" cy="672161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21C32B9-3999-4416-86E2-A65BAA169F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r="184" b="335"/>
            <a:stretch/>
          </p:blipFill>
          <p:spPr>
            <a:xfrm>
              <a:off x="2" y="-30630"/>
              <a:ext cx="10049566" cy="6709681"/>
            </a:xfrm>
            <a:prstGeom prst="rect">
              <a:avLst/>
            </a:prstGeom>
          </p:spPr>
        </p:pic>
        <p:sp>
          <p:nvSpPr>
            <p:cNvPr id="9" name="Freeform 16">
              <a:extLst>
                <a:ext uri="{FF2B5EF4-FFF2-40B4-BE49-F238E27FC236}">
                  <a16:creationId xmlns:a16="http://schemas.microsoft.com/office/drawing/2014/main" id="{FEB2627B-B1B7-43AF-847E-A00AAF1B5FDC}"/>
                </a:ext>
              </a:extLst>
            </p:cNvPr>
            <p:cNvSpPr/>
            <p:nvPr/>
          </p:nvSpPr>
          <p:spPr>
            <a:xfrm>
              <a:off x="1" y="-30631"/>
              <a:ext cx="9283396" cy="6709681"/>
            </a:xfrm>
            <a:custGeom>
              <a:avLst/>
              <a:gdLst>
                <a:gd name="connsiteX0" fmla="*/ 0 w 10778328"/>
                <a:gd name="connsiteY0" fmla="*/ 0 h 6858000"/>
                <a:gd name="connsiteX1" fmla="*/ 8652602 w 10778328"/>
                <a:gd name="connsiteY1" fmla="*/ 0 h 6858000"/>
                <a:gd name="connsiteX2" fmla="*/ 10305791 w 10778328"/>
                <a:gd name="connsiteY2" fmla="*/ 1653189 h 6858000"/>
                <a:gd name="connsiteX3" fmla="*/ 10305791 w 10778328"/>
                <a:gd name="connsiteY3" fmla="*/ 3934802 h 6858000"/>
                <a:gd name="connsiteX4" fmla="*/ 7382593 w 10778328"/>
                <a:gd name="connsiteY4" fmla="*/ 6858000 h 6858000"/>
                <a:gd name="connsiteX5" fmla="*/ 0 w 10778328"/>
                <a:gd name="connsiteY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78328" h="6858000">
                  <a:moveTo>
                    <a:pt x="0" y="0"/>
                  </a:moveTo>
                  <a:lnTo>
                    <a:pt x="8652602" y="0"/>
                  </a:lnTo>
                  <a:lnTo>
                    <a:pt x="10305791" y="1653189"/>
                  </a:lnTo>
                  <a:cubicBezTo>
                    <a:pt x="10935841" y="2283239"/>
                    <a:pt x="10935841" y="3304752"/>
                    <a:pt x="10305791" y="3934802"/>
                  </a:cubicBezTo>
                  <a:lnTo>
                    <a:pt x="7382593" y="6858000"/>
                  </a:lnTo>
                  <a:lnTo>
                    <a:pt x="0" y="6858000"/>
                  </a:lnTo>
                  <a:close/>
                </a:path>
              </a:pathLst>
            </a:custGeom>
            <a:gradFill>
              <a:gsLst>
                <a:gs pos="80000">
                  <a:schemeClr val="bg1"/>
                </a:gs>
                <a:gs pos="21000">
                  <a:schemeClr val="bg1">
                    <a:alpha val="44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 dirty="0"/>
            </a:p>
          </p:txBody>
        </p:sp>
        <p:sp>
          <p:nvSpPr>
            <p:cNvPr id="10" name="Freeform 17">
              <a:extLst>
                <a:ext uri="{FF2B5EF4-FFF2-40B4-BE49-F238E27FC236}">
                  <a16:creationId xmlns:a16="http://schemas.microsoft.com/office/drawing/2014/main" id="{177BD577-9DD5-431F-A945-B479AFDA80FD}"/>
                </a:ext>
              </a:extLst>
            </p:cNvPr>
            <p:cNvSpPr/>
            <p:nvPr/>
          </p:nvSpPr>
          <p:spPr>
            <a:xfrm>
              <a:off x="1128351" y="-30630"/>
              <a:ext cx="8921217" cy="6721615"/>
            </a:xfrm>
            <a:custGeom>
              <a:avLst/>
              <a:gdLst>
                <a:gd name="connsiteX0" fmla="*/ 86343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7367004 w 12192000"/>
                <a:gd name="connsiteY3" fmla="*/ 6858000 h 6858000"/>
                <a:gd name="connsiteX4" fmla="*/ 10284029 w 12192000"/>
                <a:gd name="connsiteY4" fmla="*/ 3934802 h 6858000"/>
                <a:gd name="connsiteX5" fmla="*/ 10284029 w 12192000"/>
                <a:gd name="connsiteY5" fmla="*/ 1653189 h 6858000"/>
                <a:gd name="connsiteX6" fmla="*/ 0 w 12192000"/>
                <a:gd name="connsiteY6" fmla="*/ 0 h 6858000"/>
                <a:gd name="connsiteX7" fmla="*/ 1 w 12192000"/>
                <a:gd name="connsiteY7" fmla="*/ 0 h 6858000"/>
                <a:gd name="connsiteX8" fmla="*/ 1 w 12192000"/>
                <a:gd name="connsiteY8" fmla="*/ 6858000 h 6858000"/>
                <a:gd name="connsiteX9" fmla="*/ 0 w 12192000"/>
                <a:gd name="connsiteY9" fmla="*/ 6858000 h 6858000"/>
                <a:gd name="connsiteX0" fmla="*/ 86343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7186405 w 12192000"/>
                <a:gd name="connsiteY3" fmla="*/ 6858000 h 6858000"/>
                <a:gd name="connsiteX4" fmla="*/ 10284029 w 12192000"/>
                <a:gd name="connsiteY4" fmla="*/ 3934802 h 6858000"/>
                <a:gd name="connsiteX5" fmla="*/ 10284029 w 12192000"/>
                <a:gd name="connsiteY5" fmla="*/ 1653189 h 6858000"/>
                <a:gd name="connsiteX6" fmla="*/ 8634331 w 12192000"/>
                <a:gd name="connsiteY6" fmla="*/ 0 h 6858000"/>
                <a:gd name="connsiteX7" fmla="*/ 0 w 12192000"/>
                <a:gd name="connsiteY7" fmla="*/ 0 h 6858000"/>
                <a:gd name="connsiteX8" fmla="*/ 1 w 12192000"/>
                <a:gd name="connsiteY8" fmla="*/ 0 h 6858000"/>
                <a:gd name="connsiteX9" fmla="*/ 1 w 12192000"/>
                <a:gd name="connsiteY9" fmla="*/ 6858000 h 6858000"/>
                <a:gd name="connsiteX10" fmla="*/ 0 w 12192000"/>
                <a:gd name="connsiteY10" fmla="*/ 6858000 h 6858000"/>
                <a:gd name="connsiteX11" fmla="*/ 0 w 12192000"/>
                <a:gd name="connsiteY11" fmla="*/ 0 h 6858000"/>
                <a:gd name="connsiteX0" fmla="*/ 8634331 w 12192000"/>
                <a:gd name="connsiteY0" fmla="*/ 0 h 6870197"/>
                <a:gd name="connsiteX1" fmla="*/ 12192000 w 12192000"/>
                <a:gd name="connsiteY1" fmla="*/ 0 h 6870197"/>
                <a:gd name="connsiteX2" fmla="*/ 12192000 w 12192000"/>
                <a:gd name="connsiteY2" fmla="*/ 6858000 h 6870197"/>
                <a:gd name="connsiteX3" fmla="*/ 7103051 w 12192000"/>
                <a:gd name="connsiteY3" fmla="*/ 6870197 h 6870197"/>
                <a:gd name="connsiteX4" fmla="*/ 10284029 w 12192000"/>
                <a:gd name="connsiteY4" fmla="*/ 3934802 h 6870197"/>
                <a:gd name="connsiteX5" fmla="*/ 10284029 w 12192000"/>
                <a:gd name="connsiteY5" fmla="*/ 1653189 h 6870197"/>
                <a:gd name="connsiteX6" fmla="*/ 8634331 w 12192000"/>
                <a:gd name="connsiteY6" fmla="*/ 0 h 6870197"/>
                <a:gd name="connsiteX7" fmla="*/ 0 w 12192000"/>
                <a:gd name="connsiteY7" fmla="*/ 0 h 6870197"/>
                <a:gd name="connsiteX8" fmla="*/ 1 w 12192000"/>
                <a:gd name="connsiteY8" fmla="*/ 0 h 6870197"/>
                <a:gd name="connsiteX9" fmla="*/ 1 w 12192000"/>
                <a:gd name="connsiteY9" fmla="*/ 6858000 h 6870197"/>
                <a:gd name="connsiteX10" fmla="*/ 0 w 12192000"/>
                <a:gd name="connsiteY10" fmla="*/ 6858000 h 6870197"/>
                <a:gd name="connsiteX11" fmla="*/ 0 w 12192000"/>
                <a:gd name="connsiteY11" fmla="*/ 0 h 6870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192000" h="6870197">
                  <a:moveTo>
                    <a:pt x="8634331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7103051" y="6870197"/>
                  </a:lnTo>
                  <a:cubicBezTo>
                    <a:pt x="8075393" y="5895798"/>
                    <a:pt x="9311687" y="4909201"/>
                    <a:pt x="10284029" y="3934802"/>
                  </a:cubicBezTo>
                  <a:cubicBezTo>
                    <a:pt x="10912748" y="3304752"/>
                    <a:pt x="10912748" y="2283239"/>
                    <a:pt x="10284029" y="1653189"/>
                  </a:cubicBezTo>
                  <a:lnTo>
                    <a:pt x="8634331" y="0"/>
                  </a:lnTo>
                  <a:close/>
                  <a:moveTo>
                    <a:pt x="0" y="0"/>
                  </a:moveTo>
                  <a:lnTo>
                    <a:pt x="1" y="0"/>
                  </a:lnTo>
                  <a:lnTo>
                    <a:pt x="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72000">
                  <a:srgbClr val="D82435">
                    <a:alpha val="11000"/>
                  </a:srgbClr>
                </a:gs>
                <a:gs pos="13000">
                  <a:srgbClr val="D82435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1" dirty="0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D9DBCECE-F207-4B6A-B471-E08E4AF45089}"/>
              </a:ext>
            </a:extLst>
          </p:cNvPr>
          <p:cNvSpPr txBox="1"/>
          <p:nvPr/>
        </p:nvSpPr>
        <p:spPr>
          <a:xfrm>
            <a:off x="603376" y="3456002"/>
            <a:ext cx="4343400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3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THANK YOU</a:t>
            </a:r>
            <a:endParaRPr lang="id-ID" sz="3200" b="0" dirty="0">
              <a:solidFill>
                <a:schemeClr val="tx1">
                  <a:lumMod val="85000"/>
                  <a:lumOff val="15000"/>
                </a:schemeClr>
              </a:solidFill>
              <a:latin typeface="Nexa Bold" panose="02000000000000000000" pitchFamily="50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6ECFAE-8ABB-4F1F-B5C7-263E4251B179}"/>
              </a:ext>
            </a:extLst>
          </p:cNvPr>
          <p:cNvSpPr txBox="1"/>
          <p:nvPr/>
        </p:nvSpPr>
        <p:spPr>
          <a:xfrm>
            <a:off x="3716077" y="5328736"/>
            <a:ext cx="976229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id-ID"/>
            </a:defPPr>
            <a:lvl1pPr>
              <a:defRPr sz="1200">
                <a:solidFill>
                  <a:schemeClr val="bg1"/>
                </a:solidFill>
                <a:latin typeface="Nexa Light"/>
              </a:defRPr>
            </a:lvl1pPr>
          </a:lstStyle>
          <a:p>
            <a:r>
              <a:rPr lang="en-US" sz="9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966 12 6222 840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54F9D85-6C59-433E-A75D-F1D3B1370AAA}"/>
              </a:ext>
            </a:extLst>
          </p:cNvPr>
          <p:cNvSpPr txBox="1"/>
          <p:nvPr/>
        </p:nvSpPr>
        <p:spPr>
          <a:xfrm>
            <a:off x="1870016" y="5328736"/>
            <a:ext cx="743793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/>
              </a:rPr>
              <a:t>www.kafaa.s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335393F-9A03-47B9-A7C6-7398744463AD}"/>
              </a:ext>
            </a:extLst>
          </p:cNvPr>
          <p:cNvSpPr txBox="1"/>
          <p:nvPr/>
        </p:nvSpPr>
        <p:spPr>
          <a:xfrm>
            <a:off x="1870008" y="5729722"/>
            <a:ext cx="62677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/>
              </a:rPr>
              <a:t>@kafaa_S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104BA13-C224-4972-9199-0AC7DD71A1B8}"/>
              </a:ext>
            </a:extLst>
          </p:cNvPr>
          <p:cNvSpPr txBox="1"/>
          <p:nvPr/>
        </p:nvSpPr>
        <p:spPr>
          <a:xfrm>
            <a:off x="1870008" y="6130070"/>
            <a:ext cx="62677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/>
              </a:rPr>
              <a:t>@kafaa_SA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002EDCF-8801-4260-BA78-EDA6FDE8F32B}"/>
              </a:ext>
            </a:extLst>
          </p:cNvPr>
          <p:cNvGrpSpPr/>
          <p:nvPr/>
        </p:nvGrpSpPr>
        <p:grpSpPr>
          <a:xfrm>
            <a:off x="3716076" y="5734241"/>
            <a:ext cx="2125582" cy="577879"/>
            <a:chOff x="3757399" y="4891157"/>
            <a:chExt cx="3956781" cy="770504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40EA04E-C24D-4298-97B0-37E1CD6E3005}"/>
                </a:ext>
              </a:extLst>
            </p:cNvPr>
            <p:cNvSpPr txBox="1"/>
            <p:nvPr/>
          </p:nvSpPr>
          <p:spPr>
            <a:xfrm>
              <a:off x="3757399" y="4891157"/>
              <a:ext cx="3956781" cy="1846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>
              <a:defPPr>
                <a:defRPr lang="id-ID"/>
              </a:defPPr>
              <a:lvl1pPr>
                <a:defRPr sz="1200">
                  <a:solidFill>
                    <a:schemeClr val="bg1"/>
                  </a:solidFill>
                  <a:latin typeface="Nexa Light"/>
                </a:defRPr>
              </a:lvl1pPr>
            </a:lstStyle>
            <a:p>
              <a:r>
                <a:rPr lang="en-US" sz="9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 7301 Prince Sultan - Al Muhamadyah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56089C4-C230-43BB-91B6-4D4E11E5E91D}"/>
                </a:ext>
              </a:extLst>
            </p:cNvPr>
            <p:cNvSpPr txBox="1"/>
            <p:nvPr/>
          </p:nvSpPr>
          <p:spPr>
            <a:xfrm>
              <a:off x="3757399" y="5184075"/>
              <a:ext cx="1667121" cy="1846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>
              <a:defPPr>
                <a:defRPr lang="id-ID"/>
              </a:defPPr>
              <a:lvl1pPr>
                <a:defRPr sz="1200">
                  <a:solidFill>
                    <a:schemeClr val="bg1"/>
                  </a:solidFill>
                  <a:latin typeface="Nexa Light"/>
                </a:defRPr>
              </a:lvl1pPr>
            </a:lstStyle>
            <a:p>
              <a:r>
                <a:rPr lang="en-US" sz="9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Jeddah  23625 - 2120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1B97D44-521B-4908-B24C-85F1BD805421}"/>
                </a:ext>
              </a:extLst>
            </p:cNvPr>
            <p:cNvSpPr txBox="1"/>
            <p:nvPr/>
          </p:nvSpPr>
          <p:spPr>
            <a:xfrm>
              <a:off x="3757399" y="5476996"/>
              <a:ext cx="769440" cy="1846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>
              <a:defPPr>
                <a:defRPr lang="id-ID"/>
              </a:defPPr>
              <a:lvl1pPr>
                <a:defRPr sz="1200">
                  <a:solidFill>
                    <a:schemeClr val="bg1"/>
                  </a:solidFill>
                  <a:latin typeface="Nexa Light"/>
                </a:defRPr>
              </a:lvl1pPr>
            </a:lstStyle>
            <a:p>
              <a:r>
                <a:rPr lang="en-US" sz="9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Saudi Arabia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AB108BB-49BC-44C9-B32B-8DDF1A72A618}"/>
              </a:ext>
            </a:extLst>
          </p:cNvPr>
          <p:cNvGrpSpPr/>
          <p:nvPr/>
        </p:nvGrpSpPr>
        <p:grpSpPr>
          <a:xfrm>
            <a:off x="1532367" y="6080612"/>
            <a:ext cx="215930" cy="214834"/>
            <a:chOff x="5682043" y="4553457"/>
            <a:chExt cx="287906" cy="286445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23" name="Freeform 155">
              <a:extLst>
                <a:ext uri="{FF2B5EF4-FFF2-40B4-BE49-F238E27FC236}">
                  <a16:creationId xmlns:a16="http://schemas.microsoft.com/office/drawing/2014/main" id="{D8ED683E-88C9-4B9A-85AB-4C16A87CF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8880" y="4638221"/>
              <a:ext cx="26306" cy="27768"/>
            </a:xfrm>
            <a:custGeom>
              <a:avLst/>
              <a:gdLst>
                <a:gd name="T0" fmla="*/ 36 w 36"/>
                <a:gd name="T1" fmla="*/ 36 h 38"/>
                <a:gd name="T2" fmla="*/ 36 w 36"/>
                <a:gd name="T3" fmla="*/ 6 h 38"/>
                <a:gd name="T4" fmla="*/ 36 w 36"/>
                <a:gd name="T5" fmla="*/ 0 h 38"/>
                <a:gd name="T6" fmla="*/ 30 w 36"/>
                <a:gd name="T7" fmla="*/ 0 h 38"/>
                <a:gd name="T8" fmla="*/ 0 w 36"/>
                <a:gd name="T9" fmla="*/ 0 h 38"/>
                <a:gd name="T10" fmla="*/ 0 w 36"/>
                <a:gd name="T11" fmla="*/ 38 h 38"/>
                <a:gd name="T12" fmla="*/ 36 w 36"/>
                <a:gd name="T13" fmla="*/ 3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8">
                  <a:moveTo>
                    <a:pt x="36" y="36"/>
                  </a:move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3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b="1" dirty="0"/>
            </a:p>
          </p:txBody>
        </p:sp>
        <p:sp>
          <p:nvSpPr>
            <p:cNvPr id="24" name="Freeform 156">
              <a:extLst>
                <a:ext uri="{FF2B5EF4-FFF2-40B4-BE49-F238E27FC236}">
                  <a16:creationId xmlns:a16="http://schemas.microsoft.com/office/drawing/2014/main" id="{7CAF168F-2BE3-4809-9DCD-3046B07A7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498" y="4671835"/>
              <a:ext cx="55535" cy="54074"/>
            </a:xfrm>
            <a:custGeom>
              <a:avLst/>
              <a:gdLst>
                <a:gd name="T0" fmla="*/ 38 w 76"/>
                <a:gd name="T1" fmla="*/ 74 h 74"/>
                <a:gd name="T2" fmla="*/ 38 w 76"/>
                <a:gd name="T3" fmla="*/ 74 h 74"/>
                <a:gd name="T4" fmla="*/ 44 w 76"/>
                <a:gd name="T5" fmla="*/ 74 h 74"/>
                <a:gd name="T6" fmla="*/ 52 w 76"/>
                <a:gd name="T7" fmla="*/ 72 h 74"/>
                <a:gd name="T8" fmla="*/ 58 w 76"/>
                <a:gd name="T9" fmla="*/ 68 h 74"/>
                <a:gd name="T10" fmla="*/ 64 w 76"/>
                <a:gd name="T11" fmla="*/ 64 h 74"/>
                <a:gd name="T12" fmla="*/ 68 w 76"/>
                <a:gd name="T13" fmla="*/ 58 h 74"/>
                <a:gd name="T14" fmla="*/ 72 w 76"/>
                <a:gd name="T15" fmla="*/ 52 h 74"/>
                <a:gd name="T16" fmla="*/ 74 w 76"/>
                <a:gd name="T17" fmla="*/ 44 h 74"/>
                <a:gd name="T18" fmla="*/ 76 w 76"/>
                <a:gd name="T19" fmla="*/ 38 h 74"/>
                <a:gd name="T20" fmla="*/ 76 w 76"/>
                <a:gd name="T21" fmla="*/ 38 h 74"/>
                <a:gd name="T22" fmla="*/ 74 w 76"/>
                <a:gd name="T23" fmla="*/ 26 h 74"/>
                <a:gd name="T24" fmla="*/ 68 w 76"/>
                <a:gd name="T25" fmla="*/ 16 h 74"/>
                <a:gd name="T26" fmla="*/ 68 w 76"/>
                <a:gd name="T27" fmla="*/ 16 h 74"/>
                <a:gd name="T28" fmla="*/ 62 w 76"/>
                <a:gd name="T29" fmla="*/ 8 h 74"/>
                <a:gd name="T30" fmla="*/ 54 w 76"/>
                <a:gd name="T31" fmla="*/ 4 h 74"/>
                <a:gd name="T32" fmla="*/ 46 w 76"/>
                <a:gd name="T33" fmla="*/ 0 h 74"/>
                <a:gd name="T34" fmla="*/ 38 w 76"/>
                <a:gd name="T35" fmla="*/ 0 h 74"/>
                <a:gd name="T36" fmla="*/ 38 w 76"/>
                <a:gd name="T37" fmla="*/ 0 h 74"/>
                <a:gd name="T38" fmla="*/ 28 w 76"/>
                <a:gd name="T39" fmla="*/ 0 h 74"/>
                <a:gd name="T40" fmla="*/ 20 w 76"/>
                <a:gd name="T41" fmla="*/ 4 h 74"/>
                <a:gd name="T42" fmla="*/ 12 w 76"/>
                <a:gd name="T43" fmla="*/ 8 h 74"/>
                <a:gd name="T44" fmla="*/ 6 w 76"/>
                <a:gd name="T45" fmla="*/ 16 h 74"/>
                <a:gd name="T46" fmla="*/ 6 w 76"/>
                <a:gd name="T47" fmla="*/ 16 h 74"/>
                <a:gd name="T48" fmla="*/ 2 w 76"/>
                <a:gd name="T49" fmla="*/ 26 h 74"/>
                <a:gd name="T50" fmla="*/ 0 w 76"/>
                <a:gd name="T51" fmla="*/ 38 h 74"/>
                <a:gd name="T52" fmla="*/ 0 w 76"/>
                <a:gd name="T53" fmla="*/ 38 h 74"/>
                <a:gd name="T54" fmla="*/ 0 w 76"/>
                <a:gd name="T55" fmla="*/ 44 h 74"/>
                <a:gd name="T56" fmla="*/ 2 w 76"/>
                <a:gd name="T57" fmla="*/ 52 h 74"/>
                <a:gd name="T58" fmla="*/ 6 w 76"/>
                <a:gd name="T59" fmla="*/ 58 h 74"/>
                <a:gd name="T60" fmla="*/ 10 w 76"/>
                <a:gd name="T61" fmla="*/ 64 h 74"/>
                <a:gd name="T62" fmla="*/ 16 w 76"/>
                <a:gd name="T63" fmla="*/ 68 h 74"/>
                <a:gd name="T64" fmla="*/ 22 w 76"/>
                <a:gd name="T65" fmla="*/ 72 h 74"/>
                <a:gd name="T66" fmla="*/ 30 w 76"/>
                <a:gd name="T67" fmla="*/ 74 h 74"/>
                <a:gd name="T68" fmla="*/ 38 w 76"/>
                <a:gd name="T69" fmla="*/ 74 h 74"/>
                <a:gd name="T70" fmla="*/ 38 w 76"/>
                <a:gd name="T71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6" h="74">
                  <a:moveTo>
                    <a:pt x="38" y="74"/>
                  </a:moveTo>
                  <a:lnTo>
                    <a:pt x="38" y="74"/>
                  </a:lnTo>
                  <a:lnTo>
                    <a:pt x="44" y="74"/>
                  </a:lnTo>
                  <a:lnTo>
                    <a:pt x="52" y="72"/>
                  </a:lnTo>
                  <a:lnTo>
                    <a:pt x="58" y="68"/>
                  </a:lnTo>
                  <a:lnTo>
                    <a:pt x="64" y="64"/>
                  </a:lnTo>
                  <a:lnTo>
                    <a:pt x="68" y="58"/>
                  </a:lnTo>
                  <a:lnTo>
                    <a:pt x="72" y="52"/>
                  </a:lnTo>
                  <a:lnTo>
                    <a:pt x="74" y="44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4" y="2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2" y="8"/>
                  </a:lnTo>
                  <a:lnTo>
                    <a:pt x="54" y="4"/>
                  </a:lnTo>
                  <a:lnTo>
                    <a:pt x="46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28" y="0"/>
                  </a:lnTo>
                  <a:lnTo>
                    <a:pt x="20" y="4"/>
                  </a:lnTo>
                  <a:lnTo>
                    <a:pt x="12" y="8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2" y="26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44"/>
                  </a:lnTo>
                  <a:lnTo>
                    <a:pt x="2" y="52"/>
                  </a:lnTo>
                  <a:lnTo>
                    <a:pt x="6" y="58"/>
                  </a:lnTo>
                  <a:lnTo>
                    <a:pt x="10" y="64"/>
                  </a:lnTo>
                  <a:lnTo>
                    <a:pt x="16" y="68"/>
                  </a:lnTo>
                  <a:lnTo>
                    <a:pt x="22" y="72"/>
                  </a:lnTo>
                  <a:lnTo>
                    <a:pt x="30" y="74"/>
                  </a:lnTo>
                  <a:lnTo>
                    <a:pt x="38" y="74"/>
                  </a:lnTo>
                  <a:lnTo>
                    <a:pt x="38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b="1" dirty="0"/>
            </a:p>
          </p:txBody>
        </p:sp>
        <p:sp>
          <p:nvSpPr>
            <p:cNvPr id="25" name="Freeform 157">
              <a:extLst>
                <a:ext uri="{FF2B5EF4-FFF2-40B4-BE49-F238E27FC236}">
                  <a16:creationId xmlns:a16="http://schemas.microsoft.com/office/drawing/2014/main" id="{1759E31A-3DB5-49EA-99F2-CE115144AB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2043" y="4553457"/>
              <a:ext cx="287906" cy="286445"/>
            </a:xfrm>
            <a:custGeom>
              <a:avLst/>
              <a:gdLst>
                <a:gd name="T0" fmla="*/ 196 w 393"/>
                <a:gd name="T1" fmla="*/ 0 h 391"/>
                <a:gd name="T2" fmla="*/ 156 w 393"/>
                <a:gd name="T3" fmla="*/ 4 h 391"/>
                <a:gd name="T4" fmla="*/ 120 w 393"/>
                <a:gd name="T5" fmla="*/ 14 h 391"/>
                <a:gd name="T6" fmla="*/ 86 w 393"/>
                <a:gd name="T7" fmla="*/ 32 h 391"/>
                <a:gd name="T8" fmla="*/ 58 w 393"/>
                <a:gd name="T9" fmla="*/ 56 h 391"/>
                <a:gd name="T10" fmla="*/ 32 w 393"/>
                <a:gd name="T11" fmla="*/ 86 h 391"/>
                <a:gd name="T12" fmla="*/ 14 w 393"/>
                <a:gd name="T13" fmla="*/ 120 h 391"/>
                <a:gd name="T14" fmla="*/ 4 w 393"/>
                <a:gd name="T15" fmla="*/ 156 h 391"/>
                <a:gd name="T16" fmla="*/ 0 w 393"/>
                <a:gd name="T17" fmla="*/ 196 h 391"/>
                <a:gd name="T18" fmla="*/ 0 w 393"/>
                <a:gd name="T19" fmla="*/ 216 h 391"/>
                <a:gd name="T20" fmla="*/ 8 w 393"/>
                <a:gd name="T21" fmla="*/ 254 h 391"/>
                <a:gd name="T22" fmla="*/ 24 w 393"/>
                <a:gd name="T23" fmla="*/ 290 h 391"/>
                <a:gd name="T24" fmla="*/ 44 w 393"/>
                <a:gd name="T25" fmla="*/ 321 h 391"/>
                <a:gd name="T26" fmla="*/ 70 w 393"/>
                <a:gd name="T27" fmla="*/ 347 h 391"/>
                <a:gd name="T28" fmla="*/ 102 w 393"/>
                <a:gd name="T29" fmla="*/ 369 h 391"/>
                <a:gd name="T30" fmla="*/ 138 w 393"/>
                <a:gd name="T31" fmla="*/ 383 h 391"/>
                <a:gd name="T32" fmla="*/ 176 w 393"/>
                <a:gd name="T33" fmla="*/ 391 h 391"/>
                <a:gd name="T34" fmla="*/ 196 w 393"/>
                <a:gd name="T35" fmla="*/ 391 h 391"/>
                <a:gd name="T36" fmla="*/ 236 w 393"/>
                <a:gd name="T37" fmla="*/ 387 h 391"/>
                <a:gd name="T38" fmla="*/ 272 w 393"/>
                <a:gd name="T39" fmla="*/ 377 h 391"/>
                <a:gd name="T40" fmla="*/ 305 w 393"/>
                <a:gd name="T41" fmla="*/ 359 h 391"/>
                <a:gd name="T42" fmla="*/ 335 w 393"/>
                <a:gd name="T43" fmla="*/ 335 h 391"/>
                <a:gd name="T44" fmla="*/ 359 w 393"/>
                <a:gd name="T45" fmla="*/ 306 h 391"/>
                <a:gd name="T46" fmla="*/ 377 w 393"/>
                <a:gd name="T47" fmla="*/ 272 h 391"/>
                <a:gd name="T48" fmla="*/ 389 w 393"/>
                <a:gd name="T49" fmla="*/ 236 h 391"/>
                <a:gd name="T50" fmla="*/ 393 w 393"/>
                <a:gd name="T51" fmla="*/ 196 h 391"/>
                <a:gd name="T52" fmla="*/ 391 w 393"/>
                <a:gd name="T53" fmla="*/ 176 h 391"/>
                <a:gd name="T54" fmla="*/ 383 w 393"/>
                <a:gd name="T55" fmla="*/ 138 h 391"/>
                <a:gd name="T56" fmla="*/ 369 w 393"/>
                <a:gd name="T57" fmla="*/ 102 h 391"/>
                <a:gd name="T58" fmla="*/ 347 w 393"/>
                <a:gd name="T59" fmla="*/ 70 h 391"/>
                <a:gd name="T60" fmla="*/ 321 w 393"/>
                <a:gd name="T61" fmla="*/ 44 h 391"/>
                <a:gd name="T62" fmla="*/ 290 w 393"/>
                <a:gd name="T63" fmla="*/ 22 h 391"/>
                <a:gd name="T64" fmla="*/ 254 w 393"/>
                <a:gd name="T65" fmla="*/ 8 h 391"/>
                <a:gd name="T66" fmla="*/ 216 w 393"/>
                <a:gd name="T67" fmla="*/ 0 h 391"/>
                <a:gd name="T68" fmla="*/ 196 w 393"/>
                <a:gd name="T69" fmla="*/ 0 h 391"/>
                <a:gd name="T70" fmla="*/ 301 w 393"/>
                <a:gd name="T71" fmla="*/ 264 h 391"/>
                <a:gd name="T72" fmla="*/ 301 w 393"/>
                <a:gd name="T73" fmla="*/ 274 h 391"/>
                <a:gd name="T74" fmla="*/ 296 w 393"/>
                <a:gd name="T75" fmla="*/ 288 h 391"/>
                <a:gd name="T76" fmla="*/ 284 w 393"/>
                <a:gd name="T77" fmla="*/ 300 h 391"/>
                <a:gd name="T78" fmla="*/ 270 w 393"/>
                <a:gd name="T79" fmla="*/ 306 h 391"/>
                <a:gd name="T80" fmla="*/ 130 w 393"/>
                <a:gd name="T81" fmla="*/ 306 h 391"/>
                <a:gd name="T82" fmla="*/ 122 w 393"/>
                <a:gd name="T83" fmla="*/ 306 h 391"/>
                <a:gd name="T84" fmla="*/ 106 w 393"/>
                <a:gd name="T85" fmla="*/ 300 h 391"/>
                <a:gd name="T86" fmla="*/ 96 w 393"/>
                <a:gd name="T87" fmla="*/ 288 h 391"/>
                <a:gd name="T88" fmla="*/ 90 w 393"/>
                <a:gd name="T89" fmla="*/ 274 h 391"/>
                <a:gd name="T90" fmla="*/ 88 w 393"/>
                <a:gd name="T91" fmla="*/ 178 h 391"/>
                <a:gd name="T92" fmla="*/ 88 w 393"/>
                <a:gd name="T93" fmla="*/ 134 h 391"/>
                <a:gd name="T94" fmla="*/ 92 w 393"/>
                <a:gd name="T95" fmla="*/ 118 h 391"/>
                <a:gd name="T96" fmla="*/ 100 w 393"/>
                <a:gd name="T97" fmla="*/ 104 h 391"/>
                <a:gd name="T98" fmla="*/ 114 w 393"/>
                <a:gd name="T99" fmla="*/ 96 h 391"/>
                <a:gd name="T100" fmla="*/ 130 w 393"/>
                <a:gd name="T101" fmla="*/ 92 h 391"/>
                <a:gd name="T102" fmla="*/ 262 w 393"/>
                <a:gd name="T103" fmla="*/ 92 h 391"/>
                <a:gd name="T104" fmla="*/ 278 w 393"/>
                <a:gd name="T105" fmla="*/ 96 h 391"/>
                <a:gd name="T106" fmla="*/ 290 w 393"/>
                <a:gd name="T107" fmla="*/ 104 h 391"/>
                <a:gd name="T108" fmla="*/ 300 w 393"/>
                <a:gd name="T109" fmla="*/ 118 h 391"/>
                <a:gd name="T110" fmla="*/ 301 w 393"/>
                <a:gd name="T111" fmla="*/ 134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93" h="391">
                  <a:moveTo>
                    <a:pt x="196" y="0"/>
                  </a:moveTo>
                  <a:lnTo>
                    <a:pt x="196" y="0"/>
                  </a:lnTo>
                  <a:lnTo>
                    <a:pt x="176" y="0"/>
                  </a:lnTo>
                  <a:lnTo>
                    <a:pt x="156" y="4"/>
                  </a:lnTo>
                  <a:lnTo>
                    <a:pt x="138" y="8"/>
                  </a:lnTo>
                  <a:lnTo>
                    <a:pt x="120" y="14"/>
                  </a:lnTo>
                  <a:lnTo>
                    <a:pt x="102" y="22"/>
                  </a:lnTo>
                  <a:lnTo>
                    <a:pt x="86" y="32"/>
                  </a:lnTo>
                  <a:lnTo>
                    <a:pt x="70" y="44"/>
                  </a:lnTo>
                  <a:lnTo>
                    <a:pt x="58" y="56"/>
                  </a:lnTo>
                  <a:lnTo>
                    <a:pt x="44" y="70"/>
                  </a:lnTo>
                  <a:lnTo>
                    <a:pt x="32" y="86"/>
                  </a:lnTo>
                  <a:lnTo>
                    <a:pt x="24" y="102"/>
                  </a:lnTo>
                  <a:lnTo>
                    <a:pt x="14" y="120"/>
                  </a:lnTo>
                  <a:lnTo>
                    <a:pt x="8" y="138"/>
                  </a:lnTo>
                  <a:lnTo>
                    <a:pt x="4" y="156"/>
                  </a:lnTo>
                  <a:lnTo>
                    <a:pt x="0" y="176"/>
                  </a:lnTo>
                  <a:lnTo>
                    <a:pt x="0" y="196"/>
                  </a:lnTo>
                  <a:lnTo>
                    <a:pt x="0" y="196"/>
                  </a:lnTo>
                  <a:lnTo>
                    <a:pt x="0" y="216"/>
                  </a:lnTo>
                  <a:lnTo>
                    <a:pt x="4" y="236"/>
                  </a:lnTo>
                  <a:lnTo>
                    <a:pt x="8" y="254"/>
                  </a:lnTo>
                  <a:lnTo>
                    <a:pt x="14" y="272"/>
                  </a:lnTo>
                  <a:lnTo>
                    <a:pt x="24" y="290"/>
                  </a:lnTo>
                  <a:lnTo>
                    <a:pt x="32" y="306"/>
                  </a:lnTo>
                  <a:lnTo>
                    <a:pt x="44" y="321"/>
                  </a:lnTo>
                  <a:lnTo>
                    <a:pt x="58" y="335"/>
                  </a:lnTo>
                  <a:lnTo>
                    <a:pt x="70" y="347"/>
                  </a:lnTo>
                  <a:lnTo>
                    <a:pt x="86" y="359"/>
                  </a:lnTo>
                  <a:lnTo>
                    <a:pt x="102" y="369"/>
                  </a:lnTo>
                  <a:lnTo>
                    <a:pt x="120" y="377"/>
                  </a:lnTo>
                  <a:lnTo>
                    <a:pt x="138" y="383"/>
                  </a:lnTo>
                  <a:lnTo>
                    <a:pt x="156" y="387"/>
                  </a:lnTo>
                  <a:lnTo>
                    <a:pt x="176" y="391"/>
                  </a:lnTo>
                  <a:lnTo>
                    <a:pt x="196" y="391"/>
                  </a:lnTo>
                  <a:lnTo>
                    <a:pt x="196" y="391"/>
                  </a:lnTo>
                  <a:lnTo>
                    <a:pt x="216" y="391"/>
                  </a:lnTo>
                  <a:lnTo>
                    <a:pt x="236" y="387"/>
                  </a:lnTo>
                  <a:lnTo>
                    <a:pt x="254" y="383"/>
                  </a:lnTo>
                  <a:lnTo>
                    <a:pt x="272" y="377"/>
                  </a:lnTo>
                  <a:lnTo>
                    <a:pt x="290" y="369"/>
                  </a:lnTo>
                  <a:lnTo>
                    <a:pt x="305" y="359"/>
                  </a:lnTo>
                  <a:lnTo>
                    <a:pt x="321" y="347"/>
                  </a:lnTo>
                  <a:lnTo>
                    <a:pt x="335" y="335"/>
                  </a:lnTo>
                  <a:lnTo>
                    <a:pt x="347" y="321"/>
                  </a:lnTo>
                  <a:lnTo>
                    <a:pt x="359" y="306"/>
                  </a:lnTo>
                  <a:lnTo>
                    <a:pt x="369" y="290"/>
                  </a:lnTo>
                  <a:lnTo>
                    <a:pt x="377" y="272"/>
                  </a:lnTo>
                  <a:lnTo>
                    <a:pt x="383" y="254"/>
                  </a:lnTo>
                  <a:lnTo>
                    <a:pt x="389" y="236"/>
                  </a:lnTo>
                  <a:lnTo>
                    <a:pt x="391" y="216"/>
                  </a:lnTo>
                  <a:lnTo>
                    <a:pt x="393" y="196"/>
                  </a:lnTo>
                  <a:lnTo>
                    <a:pt x="393" y="196"/>
                  </a:lnTo>
                  <a:lnTo>
                    <a:pt x="391" y="176"/>
                  </a:lnTo>
                  <a:lnTo>
                    <a:pt x="389" y="156"/>
                  </a:lnTo>
                  <a:lnTo>
                    <a:pt x="383" y="138"/>
                  </a:lnTo>
                  <a:lnTo>
                    <a:pt x="377" y="120"/>
                  </a:lnTo>
                  <a:lnTo>
                    <a:pt x="369" y="102"/>
                  </a:lnTo>
                  <a:lnTo>
                    <a:pt x="359" y="86"/>
                  </a:lnTo>
                  <a:lnTo>
                    <a:pt x="347" y="70"/>
                  </a:lnTo>
                  <a:lnTo>
                    <a:pt x="335" y="56"/>
                  </a:lnTo>
                  <a:lnTo>
                    <a:pt x="321" y="44"/>
                  </a:lnTo>
                  <a:lnTo>
                    <a:pt x="305" y="32"/>
                  </a:lnTo>
                  <a:lnTo>
                    <a:pt x="290" y="22"/>
                  </a:lnTo>
                  <a:lnTo>
                    <a:pt x="272" y="14"/>
                  </a:lnTo>
                  <a:lnTo>
                    <a:pt x="254" y="8"/>
                  </a:lnTo>
                  <a:lnTo>
                    <a:pt x="236" y="4"/>
                  </a:lnTo>
                  <a:lnTo>
                    <a:pt x="216" y="0"/>
                  </a:lnTo>
                  <a:lnTo>
                    <a:pt x="196" y="0"/>
                  </a:lnTo>
                  <a:lnTo>
                    <a:pt x="196" y="0"/>
                  </a:lnTo>
                  <a:close/>
                  <a:moveTo>
                    <a:pt x="301" y="178"/>
                  </a:moveTo>
                  <a:lnTo>
                    <a:pt x="301" y="264"/>
                  </a:lnTo>
                  <a:lnTo>
                    <a:pt x="301" y="264"/>
                  </a:lnTo>
                  <a:lnTo>
                    <a:pt x="301" y="274"/>
                  </a:lnTo>
                  <a:lnTo>
                    <a:pt x="300" y="280"/>
                  </a:lnTo>
                  <a:lnTo>
                    <a:pt x="296" y="288"/>
                  </a:lnTo>
                  <a:lnTo>
                    <a:pt x="290" y="294"/>
                  </a:lnTo>
                  <a:lnTo>
                    <a:pt x="284" y="300"/>
                  </a:lnTo>
                  <a:lnTo>
                    <a:pt x="278" y="302"/>
                  </a:lnTo>
                  <a:lnTo>
                    <a:pt x="270" y="306"/>
                  </a:lnTo>
                  <a:lnTo>
                    <a:pt x="262" y="306"/>
                  </a:lnTo>
                  <a:lnTo>
                    <a:pt x="130" y="306"/>
                  </a:lnTo>
                  <a:lnTo>
                    <a:pt x="130" y="306"/>
                  </a:lnTo>
                  <a:lnTo>
                    <a:pt x="122" y="306"/>
                  </a:lnTo>
                  <a:lnTo>
                    <a:pt x="114" y="302"/>
                  </a:lnTo>
                  <a:lnTo>
                    <a:pt x="106" y="300"/>
                  </a:lnTo>
                  <a:lnTo>
                    <a:pt x="100" y="294"/>
                  </a:lnTo>
                  <a:lnTo>
                    <a:pt x="96" y="288"/>
                  </a:lnTo>
                  <a:lnTo>
                    <a:pt x="92" y="280"/>
                  </a:lnTo>
                  <a:lnTo>
                    <a:pt x="90" y="274"/>
                  </a:lnTo>
                  <a:lnTo>
                    <a:pt x="88" y="264"/>
                  </a:lnTo>
                  <a:lnTo>
                    <a:pt x="88" y="178"/>
                  </a:lnTo>
                  <a:lnTo>
                    <a:pt x="88" y="134"/>
                  </a:lnTo>
                  <a:lnTo>
                    <a:pt x="88" y="134"/>
                  </a:lnTo>
                  <a:lnTo>
                    <a:pt x="90" y="124"/>
                  </a:lnTo>
                  <a:lnTo>
                    <a:pt x="92" y="118"/>
                  </a:lnTo>
                  <a:lnTo>
                    <a:pt x="96" y="110"/>
                  </a:lnTo>
                  <a:lnTo>
                    <a:pt x="100" y="104"/>
                  </a:lnTo>
                  <a:lnTo>
                    <a:pt x="106" y="98"/>
                  </a:lnTo>
                  <a:lnTo>
                    <a:pt x="114" y="96"/>
                  </a:lnTo>
                  <a:lnTo>
                    <a:pt x="122" y="92"/>
                  </a:lnTo>
                  <a:lnTo>
                    <a:pt x="130" y="92"/>
                  </a:lnTo>
                  <a:lnTo>
                    <a:pt x="262" y="92"/>
                  </a:lnTo>
                  <a:lnTo>
                    <a:pt x="262" y="92"/>
                  </a:lnTo>
                  <a:lnTo>
                    <a:pt x="270" y="92"/>
                  </a:lnTo>
                  <a:lnTo>
                    <a:pt x="278" y="96"/>
                  </a:lnTo>
                  <a:lnTo>
                    <a:pt x="284" y="98"/>
                  </a:lnTo>
                  <a:lnTo>
                    <a:pt x="290" y="104"/>
                  </a:lnTo>
                  <a:lnTo>
                    <a:pt x="296" y="110"/>
                  </a:lnTo>
                  <a:lnTo>
                    <a:pt x="300" y="118"/>
                  </a:lnTo>
                  <a:lnTo>
                    <a:pt x="301" y="124"/>
                  </a:lnTo>
                  <a:lnTo>
                    <a:pt x="301" y="134"/>
                  </a:lnTo>
                  <a:lnTo>
                    <a:pt x="301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b="1" dirty="0"/>
            </a:p>
          </p:txBody>
        </p:sp>
        <p:sp>
          <p:nvSpPr>
            <p:cNvPr id="26" name="Freeform 158">
              <a:extLst>
                <a:ext uri="{FF2B5EF4-FFF2-40B4-BE49-F238E27FC236}">
                  <a16:creationId xmlns:a16="http://schemas.microsoft.com/office/drawing/2014/main" id="{00A5A721-D552-43BE-B01E-38BC9C0FA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2424" y="4683527"/>
              <a:ext cx="125685" cy="78919"/>
            </a:xfrm>
            <a:custGeom>
              <a:avLst/>
              <a:gdLst>
                <a:gd name="T0" fmla="*/ 144 w 172"/>
                <a:gd name="T1" fmla="*/ 22 h 108"/>
                <a:gd name="T2" fmla="*/ 144 w 172"/>
                <a:gd name="T3" fmla="*/ 22 h 108"/>
                <a:gd name="T4" fmla="*/ 142 w 172"/>
                <a:gd name="T5" fmla="*/ 32 h 108"/>
                <a:gd name="T6" fmla="*/ 140 w 172"/>
                <a:gd name="T7" fmla="*/ 44 h 108"/>
                <a:gd name="T8" fmla="*/ 134 w 172"/>
                <a:gd name="T9" fmla="*/ 54 h 108"/>
                <a:gd name="T10" fmla="*/ 126 w 172"/>
                <a:gd name="T11" fmla="*/ 62 h 108"/>
                <a:gd name="T12" fmla="*/ 118 w 172"/>
                <a:gd name="T13" fmla="*/ 70 h 108"/>
                <a:gd name="T14" fmla="*/ 108 w 172"/>
                <a:gd name="T15" fmla="*/ 74 h 108"/>
                <a:gd name="T16" fmla="*/ 98 w 172"/>
                <a:gd name="T17" fmla="*/ 78 h 108"/>
                <a:gd name="T18" fmla="*/ 86 w 172"/>
                <a:gd name="T19" fmla="*/ 80 h 108"/>
                <a:gd name="T20" fmla="*/ 86 w 172"/>
                <a:gd name="T21" fmla="*/ 80 h 108"/>
                <a:gd name="T22" fmla="*/ 74 w 172"/>
                <a:gd name="T23" fmla="*/ 78 h 108"/>
                <a:gd name="T24" fmla="*/ 62 w 172"/>
                <a:gd name="T25" fmla="*/ 74 h 108"/>
                <a:gd name="T26" fmla="*/ 52 w 172"/>
                <a:gd name="T27" fmla="*/ 70 h 108"/>
                <a:gd name="T28" fmla="*/ 44 w 172"/>
                <a:gd name="T29" fmla="*/ 62 h 108"/>
                <a:gd name="T30" fmla="*/ 36 w 172"/>
                <a:gd name="T31" fmla="*/ 54 h 108"/>
                <a:gd name="T32" fmla="*/ 32 w 172"/>
                <a:gd name="T33" fmla="*/ 44 h 108"/>
                <a:gd name="T34" fmla="*/ 28 w 172"/>
                <a:gd name="T35" fmla="*/ 32 h 108"/>
                <a:gd name="T36" fmla="*/ 26 w 172"/>
                <a:gd name="T37" fmla="*/ 22 h 108"/>
                <a:gd name="T38" fmla="*/ 26 w 172"/>
                <a:gd name="T39" fmla="*/ 22 h 108"/>
                <a:gd name="T40" fmla="*/ 28 w 172"/>
                <a:gd name="T41" fmla="*/ 10 h 108"/>
                <a:gd name="T42" fmla="*/ 32 w 172"/>
                <a:gd name="T43" fmla="*/ 0 h 108"/>
                <a:gd name="T44" fmla="*/ 0 w 172"/>
                <a:gd name="T45" fmla="*/ 0 h 108"/>
                <a:gd name="T46" fmla="*/ 0 w 172"/>
                <a:gd name="T47" fmla="*/ 86 h 108"/>
                <a:gd name="T48" fmla="*/ 0 w 172"/>
                <a:gd name="T49" fmla="*/ 86 h 108"/>
                <a:gd name="T50" fmla="*/ 0 w 172"/>
                <a:gd name="T51" fmla="*/ 94 h 108"/>
                <a:gd name="T52" fmla="*/ 6 w 172"/>
                <a:gd name="T53" fmla="*/ 102 h 108"/>
                <a:gd name="T54" fmla="*/ 12 w 172"/>
                <a:gd name="T55" fmla="*/ 106 h 108"/>
                <a:gd name="T56" fmla="*/ 20 w 172"/>
                <a:gd name="T57" fmla="*/ 108 h 108"/>
                <a:gd name="T58" fmla="*/ 152 w 172"/>
                <a:gd name="T59" fmla="*/ 108 h 108"/>
                <a:gd name="T60" fmla="*/ 152 w 172"/>
                <a:gd name="T61" fmla="*/ 108 h 108"/>
                <a:gd name="T62" fmla="*/ 160 w 172"/>
                <a:gd name="T63" fmla="*/ 106 h 108"/>
                <a:gd name="T64" fmla="*/ 166 w 172"/>
                <a:gd name="T65" fmla="*/ 102 h 108"/>
                <a:gd name="T66" fmla="*/ 170 w 172"/>
                <a:gd name="T67" fmla="*/ 94 h 108"/>
                <a:gd name="T68" fmla="*/ 172 w 172"/>
                <a:gd name="T69" fmla="*/ 86 h 108"/>
                <a:gd name="T70" fmla="*/ 172 w 172"/>
                <a:gd name="T71" fmla="*/ 0 h 108"/>
                <a:gd name="T72" fmla="*/ 140 w 172"/>
                <a:gd name="T73" fmla="*/ 0 h 108"/>
                <a:gd name="T74" fmla="*/ 140 w 172"/>
                <a:gd name="T75" fmla="*/ 0 h 108"/>
                <a:gd name="T76" fmla="*/ 142 w 172"/>
                <a:gd name="T77" fmla="*/ 10 h 108"/>
                <a:gd name="T78" fmla="*/ 144 w 172"/>
                <a:gd name="T79" fmla="*/ 22 h 108"/>
                <a:gd name="T80" fmla="*/ 144 w 172"/>
                <a:gd name="T81" fmla="*/ 2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72" h="108">
                  <a:moveTo>
                    <a:pt x="144" y="22"/>
                  </a:moveTo>
                  <a:lnTo>
                    <a:pt x="144" y="22"/>
                  </a:lnTo>
                  <a:lnTo>
                    <a:pt x="142" y="32"/>
                  </a:lnTo>
                  <a:lnTo>
                    <a:pt x="140" y="44"/>
                  </a:lnTo>
                  <a:lnTo>
                    <a:pt x="134" y="54"/>
                  </a:lnTo>
                  <a:lnTo>
                    <a:pt x="126" y="62"/>
                  </a:lnTo>
                  <a:lnTo>
                    <a:pt x="118" y="70"/>
                  </a:lnTo>
                  <a:lnTo>
                    <a:pt x="108" y="74"/>
                  </a:lnTo>
                  <a:lnTo>
                    <a:pt x="98" y="78"/>
                  </a:lnTo>
                  <a:lnTo>
                    <a:pt x="86" y="80"/>
                  </a:lnTo>
                  <a:lnTo>
                    <a:pt x="86" y="80"/>
                  </a:lnTo>
                  <a:lnTo>
                    <a:pt x="74" y="78"/>
                  </a:lnTo>
                  <a:lnTo>
                    <a:pt x="62" y="74"/>
                  </a:lnTo>
                  <a:lnTo>
                    <a:pt x="52" y="70"/>
                  </a:lnTo>
                  <a:lnTo>
                    <a:pt x="44" y="62"/>
                  </a:lnTo>
                  <a:lnTo>
                    <a:pt x="36" y="54"/>
                  </a:lnTo>
                  <a:lnTo>
                    <a:pt x="32" y="44"/>
                  </a:lnTo>
                  <a:lnTo>
                    <a:pt x="28" y="3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8" y="10"/>
                  </a:lnTo>
                  <a:lnTo>
                    <a:pt x="32" y="0"/>
                  </a:lnTo>
                  <a:lnTo>
                    <a:pt x="0" y="0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94"/>
                  </a:lnTo>
                  <a:lnTo>
                    <a:pt x="6" y="102"/>
                  </a:lnTo>
                  <a:lnTo>
                    <a:pt x="12" y="106"/>
                  </a:lnTo>
                  <a:lnTo>
                    <a:pt x="20" y="108"/>
                  </a:lnTo>
                  <a:lnTo>
                    <a:pt x="152" y="108"/>
                  </a:lnTo>
                  <a:lnTo>
                    <a:pt x="152" y="108"/>
                  </a:lnTo>
                  <a:lnTo>
                    <a:pt x="160" y="106"/>
                  </a:lnTo>
                  <a:lnTo>
                    <a:pt x="166" y="102"/>
                  </a:lnTo>
                  <a:lnTo>
                    <a:pt x="170" y="94"/>
                  </a:lnTo>
                  <a:lnTo>
                    <a:pt x="172" y="86"/>
                  </a:lnTo>
                  <a:lnTo>
                    <a:pt x="172" y="0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42" y="10"/>
                  </a:lnTo>
                  <a:lnTo>
                    <a:pt x="144" y="22"/>
                  </a:lnTo>
                  <a:lnTo>
                    <a:pt x="144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b="1" dirty="0"/>
            </a:p>
          </p:txBody>
        </p:sp>
      </p:grpSp>
      <p:sp>
        <p:nvSpPr>
          <p:cNvPr id="27" name="Freeform 185">
            <a:extLst>
              <a:ext uri="{FF2B5EF4-FFF2-40B4-BE49-F238E27FC236}">
                <a16:creationId xmlns:a16="http://schemas.microsoft.com/office/drawing/2014/main" id="{63D686BA-AA1A-44C5-A235-395228571A42}"/>
              </a:ext>
            </a:extLst>
          </p:cNvPr>
          <p:cNvSpPr>
            <a:spLocks noEditPoints="1"/>
          </p:cNvSpPr>
          <p:nvPr/>
        </p:nvSpPr>
        <p:spPr bwMode="auto">
          <a:xfrm>
            <a:off x="1532367" y="5688856"/>
            <a:ext cx="215930" cy="215930"/>
          </a:xfrm>
          <a:custGeom>
            <a:avLst/>
            <a:gdLst>
              <a:gd name="T0" fmla="*/ 177 w 393"/>
              <a:gd name="T1" fmla="*/ 0 h 393"/>
              <a:gd name="T2" fmla="*/ 119 w 393"/>
              <a:gd name="T3" fmla="*/ 16 h 393"/>
              <a:gd name="T4" fmla="*/ 72 w 393"/>
              <a:gd name="T5" fmla="*/ 44 h 393"/>
              <a:gd name="T6" fmla="*/ 34 w 393"/>
              <a:gd name="T7" fmla="*/ 85 h 393"/>
              <a:gd name="T8" fmla="*/ 10 w 393"/>
              <a:gd name="T9" fmla="*/ 137 h 393"/>
              <a:gd name="T10" fmla="*/ 0 w 393"/>
              <a:gd name="T11" fmla="*/ 195 h 393"/>
              <a:gd name="T12" fmla="*/ 4 w 393"/>
              <a:gd name="T13" fmla="*/ 235 h 393"/>
              <a:gd name="T14" fmla="*/ 24 w 393"/>
              <a:gd name="T15" fmla="*/ 289 h 393"/>
              <a:gd name="T16" fmla="*/ 58 w 393"/>
              <a:gd name="T17" fmla="*/ 335 h 393"/>
              <a:gd name="T18" fmla="*/ 103 w 393"/>
              <a:gd name="T19" fmla="*/ 369 h 393"/>
              <a:gd name="T20" fmla="*/ 157 w 393"/>
              <a:gd name="T21" fmla="*/ 389 h 393"/>
              <a:gd name="T22" fmla="*/ 197 w 393"/>
              <a:gd name="T23" fmla="*/ 393 h 393"/>
              <a:gd name="T24" fmla="*/ 255 w 393"/>
              <a:gd name="T25" fmla="*/ 385 h 393"/>
              <a:gd name="T26" fmla="*/ 307 w 393"/>
              <a:gd name="T27" fmla="*/ 359 h 393"/>
              <a:gd name="T28" fmla="*/ 349 w 393"/>
              <a:gd name="T29" fmla="*/ 321 h 393"/>
              <a:gd name="T30" fmla="*/ 379 w 393"/>
              <a:gd name="T31" fmla="*/ 273 h 393"/>
              <a:gd name="T32" fmla="*/ 393 w 393"/>
              <a:gd name="T33" fmla="*/ 217 h 393"/>
              <a:gd name="T34" fmla="*/ 393 w 393"/>
              <a:gd name="T35" fmla="*/ 175 h 393"/>
              <a:gd name="T36" fmla="*/ 379 w 393"/>
              <a:gd name="T37" fmla="*/ 119 h 393"/>
              <a:gd name="T38" fmla="*/ 349 w 393"/>
              <a:gd name="T39" fmla="*/ 71 h 393"/>
              <a:gd name="T40" fmla="*/ 307 w 393"/>
              <a:gd name="T41" fmla="*/ 34 h 393"/>
              <a:gd name="T42" fmla="*/ 255 w 393"/>
              <a:gd name="T43" fmla="*/ 8 h 393"/>
              <a:gd name="T44" fmla="*/ 197 w 393"/>
              <a:gd name="T45" fmla="*/ 0 h 393"/>
              <a:gd name="T46" fmla="*/ 295 w 393"/>
              <a:gd name="T47" fmla="*/ 157 h 393"/>
              <a:gd name="T48" fmla="*/ 293 w 393"/>
              <a:gd name="T49" fmla="*/ 187 h 393"/>
              <a:gd name="T50" fmla="*/ 269 w 393"/>
              <a:gd name="T51" fmla="*/ 247 h 393"/>
              <a:gd name="T52" fmla="*/ 239 w 393"/>
              <a:gd name="T53" fmla="*/ 277 h 393"/>
              <a:gd name="T54" fmla="*/ 201 w 393"/>
              <a:gd name="T55" fmla="*/ 297 h 393"/>
              <a:gd name="T56" fmla="*/ 155 w 393"/>
              <a:gd name="T57" fmla="*/ 303 h 393"/>
              <a:gd name="T58" fmla="*/ 115 w 393"/>
              <a:gd name="T59" fmla="*/ 297 h 393"/>
              <a:gd name="T60" fmla="*/ 80 w 393"/>
              <a:gd name="T61" fmla="*/ 281 h 393"/>
              <a:gd name="T62" fmla="*/ 107 w 393"/>
              <a:gd name="T63" fmla="*/ 281 h 393"/>
              <a:gd name="T64" fmla="*/ 153 w 393"/>
              <a:gd name="T65" fmla="*/ 261 h 393"/>
              <a:gd name="T66" fmla="*/ 137 w 393"/>
              <a:gd name="T67" fmla="*/ 259 h 393"/>
              <a:gd name="T68" fmla="*/ 109 w 393"/>
              <a:gd name="T69" fmla="*/ 233 h 393"/>
              <a:gd name="T70" fmla="*/ 115 w 393"/>
              <a:gd name="T71" fmla="*/ 227 h 393"/>
              <a:gd name="T72" fmla="*/ 129 w 393"/>
              <a:gd name="T73" fmla="*/ 225 h 393"/>
              <a:gd name="T74" fmla="*/ 105 w 393"/>
              <a:gd name="T75" fmla="*/ 215 h 393"/>
              <a:gd name="T76" fmla="*/ 92 w 393"/>
              <a:gd name="T77" fmla="*/ 195 h 393"/>
              <a:gd name="T78" fmla="*/ 90 w 393"/>
              <a:gd name="T79" fmla="*/ 177 h 393"/>
              <a:gd name="T80" fmla="*/ 99 w 393"/>
              <a:gd name="T81" fmla="*/ 181 h 393"/>
              <a:gd name="T82" fmla="*/ 101 w 393"/>
              <a:gd name="T83" fmla="*/ 175 h 393"/>
              <a:gd name="T84" fmla="*/ 90 w 393"/>
              <a:gd name="T85" fmla="*/ 141 h 393"/>
              <a:gd name="T86" fmla="*/ 95 w 393"/>
              <a:gd name="T87" fmla="*/ 117 h 393"/>
              <a:gd name="T88" fmla="*/ 115 w 393"/>
              <a:gd name="T89" fmla="*/ 137 h 393"/>
              <a:gd name="T90" fmla="*/ 153 w 393"/>
              <a:gd name="T91" fmla="*/ 159 h 393"/>
              <a:gd name="T92" fmla="*/ 197 w 393"/>
              <a:gd name="T93" fmla="*/ 169 h 393"/>
              <a:gd name="T94" fmla="*/ 197 w 393"/>
              <a:gd name="T95" fmla="*/ 157 h 393"/>
              <a:gd name="T96" fmla="*/ 205 w 393"/>
              <a:gd name="T97" fmla="*/ 129 h 393"/>
              <a:gd name="T98" fmla="*/ 227 w 393"/>
              <a:gd name="T99" fmla="*/ 111 h 393"/>
              <a:gd name="T100" fmla="*/ 247 w 393"/>
              <a:gd name="T101" fmla="*/ 107 h 393"/>
              <a:gd name="T102" fmla="*/ 275 w 393"/>
              <a:gd name="T103" fmla="*/ 117 h 393"/>
              <a:gd name="T104" fmla="*/ 299 w 393"/>
              <a:gd name="T105" fmla="*/ 119 h 393"/>
              <a:gd name="T106" fmla="*/ 311 w 393"/>
              <a:gd name="T107" fmla="*/ 119 h 393"/>
              <a:gd name="T108" fmla="*/ 293 w 393"/>
              <a:gd name="T109" fmla="*/ 139 h 393"/>
              <a:gd name="T110" fmla="*/ 321 w 393"/>
              <a:gd name="T111" fmla="*/ 131 h 393"/>
              <a:gd name="T112" fmla="*/ 295 w 393"/>
              <a:gd name="T113" fmla="*/ 157 h 3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93" h="393">
                <a:moveTo>
                  <a:pt x="197" y="0"/>
                </a:moveTo>
                <a:lnTo>
                  <a:pt x="197" y="0"/>
                </a:lnTo>
                <a:lnTo>
                  <a:pt x="177" y="0"/>
                </a:lnTo>
                <a:lnTo>
                  <a:pt x="157" y="4"/>
                </a:lnTo>
                <a:lnTo>
                  <a:pt x="139" y="8"/>
                </a:lnTo>
                <a:lnTo>
                  <a:pt x="119" y="16"/>
                </a:lnTo>
                <a:lnTo>
                  <a:pt x="103" y="24"/>
                </a:lnTo>
                <a:lnTo>
                  <a:pt x="88" y="34"/>
                </a:lnTo>
                <a:lnTo>
                  <a:pt x="72" y="44"/>
                </a:lnTo>
                <a:lnTo>
                  <a:pt x="58" y="57"/>
                </a:lnTo>
                <a:lnTo>
                  <a:pt x="46" y="71"/>
                </a:lnTo>
                <a:lnTo>
                  <a:pt x="34" y="85"/>
                </a:lnTo>
                <a:lnTo>
                  <a:pt x="24" y="101"/>
                </a:lnTo>
                <a:lnTo>
                  <a:pt x="16" y="119"/>
                </a:lnTo>
                <a:lnTo>
                  <a:pt x="10" y="137"/>
                </a:lnTo>
                <a:lnTo>
                  <a:pt x="4" y="157"/>
                </a:lnTo>
                <a:lnTo>
                  <a:pt x="2" y="175"/>
                </a:lnTo>
                <a:lnTo>
                  <a:pt x="0" y="195"/>
                </a:lnTo>
                <a:lnTo>
                  <a:pt x="0" y="195"/>
                </a:lnTo>
                <a:lnTo>
                  <a:pt x="2" y="217"/>
                </a:lnTo>
                <a:lnTo>
                  <a:pt x="4" y="235"/>
                </a:lnTo>
                <a:lnTo>
                  <a:pt x="10" y="255"/>
                </a:lnTo>
                <a:lnTo>
                  <a:pt x="16" y="273"/>
                </a:lnTo>
                <a:lnTo>
                  <a:pt x="24" y="289"/>
                </a:lnTo>
                <a:lnTo>
                  <a:pt x="34" y="307"/>
                </a:lnTo>
                <a:lnTo>
                  <a:pt x="46" y="321"/>
                </a:lnTo>
                <a:lnTo>
                  <a:pt x="58" y="335"/>
                </a:lnTo>
                <a:lnTo>
                  <a:pt x="72" y="347"/>
                </a:lnTo>
                <a:lnTo>
                  <a:pt x="88" y="359"/>
                </a:lnTo>
                <a:lnTo>
                  <a:pt x="103" y="369"/>
                </a:lnTo>
                <a:lnTo>
                  <a:pt x="119" y="377"/>
                </a:lnTo>
                <a:lnTo>
                  <a:pt x="139" y="385"/>
                </a:lnTo>
                <a:lnTo>
                  <a:pt x="157" y="389"/>
                </a:lnTo>
                <a:lnTo>
                  <a:pt x="177" y="391"/>
                </a:lnTo>
                <a:lnTo>
                  <a:pt x="197" y="393"/>
                </a:lnTo>
                <a:lnTo>
                  <a:pt x="197" y="393"/>
                </a:lnTo>
                <a:lnTo>
                  <a:pt x="217" y="391"/>
                </a:lnTo>
                <a:lnTo>
                  <a:pt x="237" y="389"/>
                </a:lnTo>
                <a:lnTo>
                  <a:pt x="255" y="385"/>
                </a:lnTo>
                <a:lnTo>
                  <a:pt x="273" y="377"/>
                </a:lnTo>
                <a:lnTo>
                  <a:pt x="291" y="369"/>
                </a:lnTo>
                <a:lnTo>
                  <a:pt x="307" y="359"/>
                </a:lnTo>
                <a:lnTo>
                  <a:pt x="321" y="347"/>
                </a:lnTo>
                <a:lnTo>
                  <a:pt x="335" y="335"/>
                </a:lnTo>
                <a:lnTo>
                  <a:pt x="349" y="321"/>
                </a:lnTo>
                <a:lnTo>
                  <a:pt x="359" y="307"/>
                </a:lnTo>
                <a:lnTo>
                  <a:pt x="369" y="289"/>
                </a:lnTo>
                <a:lnTo>
                  <a:pt x="379" y="273"/>
                </a:lnTo>
                <a:lnTo>
                  <a:pt x="385" y="255"/>
                </a:lnTo>
                <a:lnTo>
                  <a:pt x="389" y="235"/>
                </a:lnTo>
                <a:lnTo>
                  <a:pt x="393" y="217"/>
                </a:lnTo>
                <a:lnTo>
                  <a:pt x="393" y="195"/>
                </a:lnTo>
                <a:lnTo>
                  <a:pt x="393" y="195"/>
                </a:lnTo>
                <a:lnTo>
                  <a:pt x="393" y="175"/>
                </a:lnTo>
                <a:lnTo>
                  <a:pt x="389" y="157"/>
                </a:lnTo>
                <a:lnTo>
                  <a:pt x="385" y="137"/>
                </a:lnTo>
                <a:lnTo>
                  <a:pt x="379" y="119"/>
                </a:lnTo>
                <a:lnTo>
                  <a:pt x="369" y="101"/>
                </a:lnTo>
                <a:lnTo>
                  <a:pt x="359" y="85"/>
                </a:lnTo>
                <a:lnTo>
                  <a:pt x="349" y="71"/>
                </a:lnTo>
                <a:lnTo>
                  <a:pt x="335" y="57"/>
                </a:lnTo>
                <a:lnTo>
                  <a:pt x="321" y="44"/>
                </a:lnTo>
                <a:lnTo>
                  <a:pt x="307" y="34"/>
                </a:lnTo>
                <a:lnTo>
                  <a:pt x="291" y="24"/>
                </a:lnTo>
                <a:lnTo>
                  <a:pt x="273" y="16"/>
                </a:lnTo>
                <a:lnTo>
                  <a:pt x="255" y="8"/>
                </a:lnTo>
                <a:lnTo>
                  <a:pt x="237" y="4"/>
                </a:lnTo>
                <a:lnTo>
                  <a:pt x="217" y="0"/>
                </a:lnTo>
                <a:lnTo>
                  <a:pt x="197" y="0"/>
                </a:lnTo>
                <a:lnTo>
                  <a:pt x="197" y="0"/>
                </a:lnTo>
                <a:close/>
                <a:moveTo>
                  <a:pt x="295" y="157"/>
                </a:moveTo>
                <a:lnTo>
                  <a:pt x="295" y="157"/>
                </a:lnTo>
                <a:lnTo>
                  <a:pt x="295" y="163"/>
                </a:lnTo>
                <a:lnTo>
                  <a:pt x="295" y="163"/>
                </a:lnTo>
                <a:lnTo>
                  <a:pt x="293" y="187"/>
                </a:lnTo>
                <a:lnTo>
                  <a:pt x="287" y="213"/>
                </a:lnTo>
                <a:lnTo>
                  <a:pt x="275" y="237"/>
                </a:lnTo>
                <a:lnTo>
                  <a:pt x="269" y="247"/>
                </a:lnTo>
                <a:lnTo>
                  <a:pt x="259" y="257"/>
                </a:lnTo>
                <a:lnTo>
                  <a:pt x="251" y="267"/>
                </a:lnTo>
                <a:lnTo>
                  <a:pt x="239" y="277"/>
                </a:lnTo>
                <a:lnTo>
                  <a:pt x="227" y="285"/>
                </a:lnTo>
                <a:lnTo>
                  <a:pt x="215" y="291"/>
                </a:lnTo>
                <a:lnTo>
                  <a:pt x="201" y="297"/>
                </a:lnTo>
                <a:lnTo>
                  <a:pt x="187" y="301"/>
                </a:lnTo>
                <a:lnTo>
                  <a:pt x="171" y="303"/>
                </a:lnTo>
                <a:lnTo>
                  <a:pt x="155" y="303"/>
                </a:lnTo>
                <a:lnTo>
                  <a:pt x="155" y="303"/>
                </a:lnTo>
                <a:lnTo>
                  <a:pt x="135" y="303"/>
                </a:lnTo>
                <a:lnTo>
                  <a:pt x="115" y="297"/>
                </a:lnTo>
                <a:lnTo>
                  <a:pt x="95" y="291"/>
                </a:lnTo>
                <a:lnTo>
                  <a:pt x="80" y="281"/>
                </a:lnTo>
                <a:lnTo>
                  <a:pt x="80" y="281"/>
                </a:lnTo>
                <a:lnTo>
                  <a:pt x="92" y="283"/>
                </a:lnTo>
                <a:lnTo>
                  <a:pt x="92" y="283"/>
                </a:lnTo>
                <a:lnTo>
                  <a:pt x="107" y="281"/>
                </a:lnTo>
                <a:lnTo>
                  <a:pt x="123" y="277"/>
                </a:lnTo>
                <a:lnTo>
                  <a:pt x="139" y="269"/>
                </a:lnTo>
                <a:lnTo>
                  <a:pt x="153" y="261"/>
                </a:lnTo>
                <a:lnTo>
                  <a:pt x="153" y="261"/>
                </a:lnTo>
                <a:lnTo>
                  <a:pt x="145" y="261"/>
                </a:lnTo>
                <a:lnTo>
                  <a:pt x="137" y="259"/>
                </a:lnTo>
                <a:lnTo>
                  <a:pt x="123" y="251"/>
                </a:lnTo>
                <a:lnTo>
                  <a:pt x="113" y="241"/>
                </a:lnTo>
                <a:lnTo>
                  <a:pt x="109" y="233"/>
                </a:lnTo>
                <a:lnTo>
                  <a:pt x="105" y="227"/>
                </a:lnTo>
                <a:lnTo>
                  <a:pt x="105" y="227"/>
                </a:lnTo>
                <a:lnTo>
                  <a:pt x="115" y="227"/>
                </a:lnTo>
                <a:lnTo>
                  <a:pt x="115" y="227"/>
                </a:lnTo>
                <a:lnTo>
                  <a:pt x="129" y="225"/>
                </a:lnTo>
                <a:lnTo>
                  <a:pt x="129" y="225"/>
                </a:lnTo>
                <a:lnTo>
                  <a:pt x="119" y="223"/>
                </a:lnTo>
                <a:lnTo>
                  <a:pt x="113" y="219"/>
                </a:lnTo>
                <a:lnTo>
                  <a:pt x="105" y="215"/>
                </a:lnTo>
                <a:lnTo>
                  <a:pt x="99" y="209"/>
                </a:lnTo>
                <a:lnTo>
                  <a:pt x="95" y="201"/>
                </a:lnTo>
                <a:lnTo>
                  <a:pt x="92" y="195"/>
                </a:lnTo>
                <a:lnTo>
                  <a:pt x="90" y="185"/>
                </a:lnTo>
                <a:lnTo>
                  <a:pt x="90" y="177"/>
                </a:lnTo>
                <a:lnTo>
                  <a:pt x="90" y="177"/>
                </a:lnTo>
                <a:lnTo>
                  <a:pt x="90" y="177"/>
                </a:lnTo>
                <a:lnTo>
                  <a:pt x="90" y="177"/>
                </a:lnTo>
                <a:lnTo>
                  <a:pt x="99" y="181"/>
                </a:lnTo>
                <a:lnTo>
                  <a:pt x="111" y="183"/>
                </a:lnTo>
                <a:lnTo>
                  <a:pt x="111" y="183"/>
                </a:lnTo>
                <a:lnTo>
                  <a:pt x="101" y="175"/>
                </a:lnTo>
                <a:lnTo>
                  <a:pt x="95" y="165"/>
                </a:lnTo>
                <a:lnTo>
                  <a:pt x="92" y="153"/>
                </a:lnTo>
                <a:lnTo>
                  <a:pt x="90" y="141"/>
                </a:lnTo>
                <a:lnTo>
                  <a:pt x="90" y="141"/>
                </a:lnTo>
                <a:lnTo>
                  <a:pt x="92" y="129"/>
                </a:lnTo>
                <a:lnTo>
                  <a:pt x="95" y="117"/>
                </a:lnTo>
                <a:lnTo>
                  <a:pt x="95" y="117"/>
                </a:lnTo>
                <a:lnTo>
                  <a:pt x="105" y="127"/>
                </a:lnTo>
                <a:lnTo>
                  <a:pt x="115" y="137"/>
                </a:lnTo>
                <a:lnTo>
                  <a:pt x="127" y="145"/>
                </a:lnTo>
                <a:lnTo>
                  <a:pt x="141" y="153"/>
                </a:lnTo>
                <a:lnTo>
                  <a:pt x="153" y="159"/>
                </a:lnTo>
                <a:lnTo>
                  <a:pt x="167" y="163"/>
                </a:lnTo>
                <a:lnTo>
                  <a:pt x="183" y="167"/>
                </a:lnTo>
                <a:lnTo>
                  <a:pt x="197" y="169"/>
                </a:lnTo>
                <a:lnTo>
                  <a:pt x="197" y="169"/>
                </a:lnTo>
                <a:lnTo>
                  <a:pt x="197" y="157"/>
                </a:lnTo>
                <a:lnTo>
                  <a:pt x="197" y="157"/>
                </a:lnTo>
                <a:lnTo>
                  <a:pt x="197" y="147"/>
                </a:lnTo>
                <a:lnTo>
                  <a:pt x="201" y="137"/>
                </a:lnTo>
                <a:lnTo>
                  <a:pt x="205" y="129"/>
                </a:lnTo>
                <a:lnTo>
                  <a:pt x="211" y="121"/>
                </a:lnTo>
                <a:lnTo>
                  <a:pt x="219" y="115"/>
                </a:lnTo>
                <a:lnTo>
                  <a:pt x="227" y="111"/>
                </a:lnTo>
                <a:lnTo>
                  <a:pt x="237" y="109"/>
                </a:lnTo>
                <a:lnTo>
                  <a:pt x="247" y="107"/>
                </a:lnTo>
                <a:lnTo>
                  <a:pt x="247" y="107"/>
                </a:lnTo>
                <a:lnTo>
                  <a:pt x="257" y="109"/>
                </a:lnTo>
                <a:lnTo>
                  <a:pt x="267" y="111"/>
                </a:lnTo>
                <a:lnTo>
                  <a:pt x="275" y="117"/>
                </a:lnTo>
                <a:lnTo>
                  <a:pt x="283" y="123"/>
                </a:lnTo>
                <a:lnTo>
                  <a:pt x="283" y="123"/>
                </a:lnTo>
                <a:lnTo>
                  <a:pt x="299" y="119"/>
                </a:lnTo>
                <a:lnTo>
                  <a:pt x="313" y="111"/>
                </a:lnTo>
                <a:lnTo>
                  <a:pt x="313" y="111"/>
                </a:lnTo>
                <a:lnTo>
                  <a:pt x="311" y="119"/>
                </a:lnTo>
                <a:lnTo>
                  <a:pt x="305" y="127"/>
                </a:lnTo>
                <a:lnTo>
                  <a:pt x="299" y="133"/>
                </a:lnTo>
                <a:lnTo>
                  <a:pt x="293" y="139"/>
                </a:lnTo>
                <a:lnTo>
                  <a:pt x="293" y="139"/>
                </a:lnTo>
                <a:lnTo>
                  <a:pt x="307" y="135"/>
                </a:lnTo>
                <a:lnTo>
                  <a:pt x="321" y="131"/>
                </a:lnTo>
                <a:lnTo>
                  <a:pt x="321" y="131"/>
                </a:lnTo>
                <a:lnTo>
                  <a:pt x="309" y="145"/>
                </a:lnTo>
                <a:lnTo>
                  <a:pt x="295" y="157"/>
                </a:lnTo>
                <a:lnTo>
                  <a:pt x="295" y="157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b="1" dirty="0"/>
          </a:p>
        </p:txBody>
      </p:sp>
      <p:sp>
        <p:nvSpPr>
          <p:cNvPr id="28" name="Freeform 36">
            <a:extLst>
              <a:ext uri="{FF2B5EF4-FFF2-40B4-BE49-F238E27FC236}">
                <a16:creationId xmlns:a16="http://schemas.microsoft.com/office/drawing/2014/main" id="{E70B0002-0ED1-48C2-8983-44358C46C58B}"/>
              </a:ext>
            </a:extLst>
          </p:cNvPr>
          <p:cNvSpPr/>
          <p:nvPr/>
        </p:nvSpPr>
        <p:spPr>
          <a:xfrm>
            <a:off x="3339858" y="5280408"/>
            <a:ext cx="229289" cy="229289"/>
          </a:xfrm>
          <a:custGeom>
            <a:avLst/>
            <a:gdLst>
              <a:gd name="connsiteX0" fmla="*/ 94021 w 288000"/>
              <a:gd name="connsiteY0" fmla="*/ 62164 h 288000"/>
              <a:gd name="connsiteX1" fmla="*/ 92152 w 288000"/>
              <a:gd name="connsiteY1" fmla="*/ 62352 h 288000"/>
              <a:gd name="connsiteX2" fmla="*/ 90097 w 288000"/>
              <a:gd name="connsiteY2" fmla="*/ 62540 h 288000"/>
              <a:gd name="connsiteX3" fmla="*/ 88416 w 288000"/>
              <a:gd name="connsiteY3" fmla="*/ 63103 h 288000"/>
              <a:gd name="connsiteX4" fmla="*/ 86547 w 288000"/>
              <a:gd name="connsiteY4" fmla="*/ 63854 h 288000"/>
              <a:gd name="connsiteX5" fmla="*/ 84866 w 288000"/>
              <a:gd name="connsiteY5" fmla="*/ 64604 h 288000"/>
              <a:gd name="connsiteX6" fmla="*/ 83371 w 288000"/>
              <a:gd name="connsiteY6" fmla="*/ 65355 h 288000"/>
              <a:gd name="connsiteX7" fmla="*/ 81690 w 288000"/>
              <a:gd name="connsiteY7" fmla="*/ 66669 h 288000"/>
              <a:gd name="connsiteX8" fmla="*/ 80382 w 288000"/>
              <a:gd name="connsiteY8" fmla="*/ 67983 h 288000"/>
              <a:gd name="connsiteX9" fmla="*/ 70666 w 288000"/>
              <a:gd name="connsiteY9" fmla="*/ 77555 h 288000"/>
              <a:gd name="connsiteX10" fmla="*/ 69171 w 288000"/>
              <a:gd name="connsiteY10" fmla="*/ 79245 h 288000"/>
              <a:gd name="connsiteX11" fmla="*/ 67677 w 288000"/>
              <a:gd name="connsiteY11" fmla="*/ 81309 h 288000"/>
              <a:gd name="connsiteX12" fmla="*/ 66369 w 288000"/>
              <a:gd name="connsiteY12" fmla="*/ 83374 h 288000"/>
              <a:gd name="connsiteX13" fmla="*/ 65248 w 288000"/>
              <a:gd name="connsiteY13" fmla="*/ 85439 h 288000"/>
              <a:gd name="connsiteX14" fmla="*/ 64314 w 288000"/>
              <a:gd name="connsiteY14" fmla="*/ 87503 h 288000"/>
              <a:gd name="connsiteX15" fmla="*/ 63753 w 288000"/>
              <a:gd name="connsiteY15" fmla="*/ 89756 h 288000"/>
              <a:gd name="connsiteX16" fmla="*/ 63193 w 288000"/>
              <a:gd name="connsiteY16" fmla="*/ 92196 h 288000"/>
              <a:gd name="connsiteX17" fmla="*/ 62819 w 288000"/>
              <a:gd name="connsiteY17" fmla="*/ 94448 h 288000"/>
              <a:gd name="connsiteX18" fmla="*/ 62632 w 288000"/>
              <a:gd name="connsiteY18" fmla="*/ 96888 h 288000"/>
              <a:gd name="connsiteX19" fmla="*/ 62632 w 288000"/>
              <a:gd name="connsiteY19" fmla="*/ 99141 h 288000"/>
              <a:gd name="connsiteX20" fmla="*/ 63193 w 288000"/>
              <a:gd name="connsiteY20" fmla="*/ 101393 h 288000"/>
              <a:gd name="connsiteX21" fmla="*/ 63566 w 288000"/>
              <a:gd name="connsiteY21" fmla="*/ 103645 h 288000"/>
              <a:gd name="connsiteX22" fmla="*/ 64127 w 288000"/>
              <a:gd name="connsiteY22" fmla="*/ 106085 h 288000"/>
              <a:gd name="connsiteX23" fmla="*/ 64874 w 288000"/>
              <a:gd name="connsiteY23" fmla="*/ 108338 h 288000"/>
              <a:gd name="connsiteX24" fmla="*/ 66182 w 288000"/>
              <a:gd name="connsiteY24" fmla="*/ 110402 h 288000"/>
              <a:gd name="connsiteX25" fmla="*/ 67303 w 288000"/>
              <a:gd name="connsiteY25" fmla="*/ 112467 h 288000"/>
              <a:gd name="connsiteX26" fmla="*/ 72721 w 288000"/>
              <a:gd name="connsiteY26" fmla="*/ 120350 h 288000"/>
              <a:gd name="connsiteX27" fmla="*/ 78326 w 288000"/>
              <a:gd name="connsiteY27" fmla="*/ 128234 h 288000"/>
              <a:gd name="connsiteX28" fmla="*/ 84118 w 288000"/>
              <a:gd name="connsiteY28" fmla="*/ 136117 h 288000"/>
              <a:gd name="connsiteX29" fmla="*/ 90097 w 288000"/>
              <a:gd name="connsiteY29" fmla="*/ 143625 h 288000"/>
              <a:gd name="connsiteX30" fmla="*/ 96450 w 288000"/>
              <a:gd name="connsiteY30" fmla="*/ 150945 h 288000"/>
              <a:gd name="connsiteX31" fmla="*/ 102615 w 288000"/>
              <a:gd name="connsiteY31" fmla="*/ 158265 h 288000"/>
              <a:gd name="connsiteX32" fmla="*/ 109155 w 288000"/>
              <a:gd name="connsiteY32" fmla="*/ 165210 h 288000"/>
              <a:gd name="connsiteX33" fmla="*/ 116068 w 288000"/>
              <a:gd name="connsiteY33" fmla="*/ 172343 h 288000"/>
              <a:gd name="connsiteX34" fmla="*/ 122794 w 288000"/>
              <a:gd name="connsiteY34" fmla="*/ 179100 h 288000"/>
              <a:gd name="connsiteX35" fmla="*/ 130081 w 288000"/>
              <a:gd name="connsiteY35" fmla="*/ 185669 h 288000"/>
              <a:gd name="connsiteX36" fmla="*/ 137180 w 288000"/>
              <a:gd name="connsiteY36" fmla="*/ 192051 h 288000"/>
              <a:gd name="connsiteX37" fmla="*/ 144654 w 288000"/>
              <a:gd name="connsiteY37" fmla="*/ 198245 h 288000"/>
              <a:gd name="connsiteX38" fmla="*/ 152127 w 288000"/>
              <a:gd name="connsiteY38" fmla="*/ 204251 h 288000"/>
              <a:gd name="connsiteX39" fmla="*/ 159601 w 288000"/>
              <a:gd name="connsiteY39" fmla="*/ 210257 h 288000"/>
              <a:gd name="connsiteX40" fmla="*/ 167448 w 288000"/>
              <a:gd name="connsiteY40" fmla="*/ 215888 h 288000"/>
              <a:gd name="connsiteX41" fmla="*/ 175482 w 288000"/>
              <a:gd name="connsiteY41" fmla="*/ 221332 h 288000"/>
              <a:gd name="connsiteX42" fmla="*/ 177351 w 288000"/>
              <a:gd name="connsiteY42" fmla="*/ 222270 h 288000"/>
              <a:gd name="connsiteX43" fmla="*/ 178845 w 288000"/>
              <a:gd name="connsiteY43" fmla="*/ 223208 h 288000"/>
              <a:gd name="connsiteX44" fmla="*/ 180901 w 288000"/>
              <a:gd name="connsiteY44" fmla="*/ 224147 h 288000"/>
              <a:gd name="connsiteX45" fmla="*/ 182769 w 288000"/>
              <a:gd name="connsiteY45" fmla="*/ 224710 h 288000"/>
              <a:gd name="connsiteX46" fmla="*/ 184824 w 288000"/>
              <a:gd name="connsiteY46" fmla="*/ 225085 h 288000"/>
              <a:gd name="connsiteX47" fmla="*/ 186693 w 288000"/>
              <a:gd name="connsiteY47" fmla="*/ 225461 h 288000"/>
              <a:gd name="connsiteX48" fmla="*/ 188748 w 288000"/>
              <a:gd name="connsiteY48" fmla="*/ 225649 h 288000"/>
              <a:gd name="connsiteX49" fmla="*/ 190803 w 288000"/>
              <a:gd name="connsiteY49" fmla="*/ 225836 h 288000"/>
              <a:gd name="connsiteX50" fmla="*/ 193606 w 288000"/>
              <a:gd name="connsiteY50" fmla="*/ 225649 h 288000"/>
              <a:gd name="connsiteX51" fmla="*/ 196221 w 288000"/>
              <a:gd name="connsiteY51" fmla="*/ 225273 h 288000"/>
              <a:gd name="connsiteX52" fmla="*/ 198837 w 288000"/>
              <a:gd name="connsiteY52" fmla="*/ 224710 h 288000"/>
              <a:gd name="connsiteX53" fmla="*/ 201453 w 288000"/>
              <a:gd name="connsiteY53" fmla="*/ 223584 h 288000"/>
              <a:gd name="connsiteX54" fmla="*/ 203695 w 288000"/>
              <a:gd name="connsiteY54" fmla="*/ 222645 h 288000"/>
              <a:gd name="connsiteX55" fmla="*/ 205937 w 288000"/>
              <a:gd name="connsiteY55" fmla="*/ 221332 h 288000"/>
              <a:gd name="connsiteX56" fmla="*/ 208179 w 288000"/>
              <a:gd name="connsiteY56" fmla="*/ 219642 h 288000"/>
              <a:gd name="connsiteX57" fmla="*/ 210234 w 288000"/>
              <a:gd name="connsiteY57" fmla="*/ 217765 h 288000"/>
              <a:gd name="connsiteX58" fmla="*/ 219763 w 288000"/>
              <a:gd name="connsiteY58" fmla="*/ 208005 h 288000"/>
              <a:gd name="connsiteX59" fmla="*/ 221258 w 288000"/>
              <a:gd name="connsiteY59" fmla="*/ 206503 h 288000"/>
              <a:gd name="connsiteX60" fmla="*/ 222192 w 288000"/>
              <a:gd name="connsiteY60" fmla="*/ 205002 h 288000"/>
              <a:gd name="connsiteX61" fmla="*/ 223126 w 288000"/>
              <a:gd name="connsiteY61" fmla="*/ 203313 h 288000"/>
              <a:gd name="connsiteX62" fmla="*/ 224060 w 288000"/>
              <a:gd name="connsiteY62" fmla="*/ 201811 h 288000"/>
              <a:gd name="connsiteX63" fmla="*/ 224621 w 288000"/>
              <a:gd name="connsiteY63" fmla="*/ 199934 h 288000"/>
              <a:gd name="connsiteX64" fmla="*/ 225181 w 288000"/>
              <a:gd name="connsiteY64" fmla="*/ 198057 h 288000"/>
              <a:gd name="connsiteX65" fmla="*/ 225368 w 288000"/>
              <a:gd name="connsiteY65" fmla="*/ 196368 h 288000"/>
              <a:gd name="connsiteX66" fmla="*/ 225368 w 288000"/>
              <a:gd name="connsiteY66" fmla="*/ 194303 h 288000"/>
              <a:gd name="connsiteX67" fmla="*/ 225368 w 288000"/>
              <a:gd name="connsiteY67" fmla="*/ 192426 h 288000"/>
              <a:gd name="connsiteX68" fmla="*/ 225181 w 288000"/>
              <a:gd name="connsiteY68" fmla="*/ 190737 h 288000"/>
              <a:gd name="connsiteX69" fmla="*/ 224621 w 288000"/>
              <a:gd name="connsiteY69" fmla="*/ 188860 h 288000"/>
              <a:gd name="connsiteX70" fmla="*/ 224060 w 288000"/>
              <a:gd name="connsiteY70" fmla="*/ 186983 h 288000"/>
              <a:gd name="connsiteX71" fmla="*/ 223126 w 288000"/>
              <a:gd name="connsiteY71" fmla="*/ 185294 h 288000"/>
              <a:gd name="connsiteX72" fmla="*/ 222192 w 288000"/>
              <a:gd name="connsiteY72" fmla="*/ 183604 h 288000"/>
              <a:gd name="connsiteX73" fmla="*/ 221258 w 288000"/>
              <a:gd name="connsiteY73" fmla="*/ 181915 h 288000"/>
              <a:gd name="connsiteX74" fmla="*/ 219763 w 288000"/>
              <a:gd name="connsiteY74" fmla="*/ 180601 h 288000"/>
              <a:gd name="connsiteX75" fmla="*/ 202387 w 288000"/>
              <a:gd name="connsiteY75" fmla="*/ 163145 h 288000"/>
              <a:gd name="connsiteX76" fmla="*/ 200892 w 288000"/>
              <a:gd name="connsiteY76" fmla="*/ 161644 h 288000"/>
              <a:gd name="connsiteX77" fmla="*/ 199398 w 288000"/>
              <a:gd name="connsiteY77" fmla="*/ 160705 h 288000"/>
              <a:gd name="connsiteX78" fmla="*/ 197716 w 288000"/>
              <a:gd name="connsiteY78" fmla="*/ 159579 h 288000"/>
              <a:gd name="connsiteX79" fmla="*/ 196034 w 288000"/>
              <a:gd name="connsiteY79" fmla="*/ 158828 h 288000"/>
              <a:gd name="connsiteX80" fmla="*/ 194353 w 288000"/>
              <a:gd name="connsiteY80" fmla="*/ 158078 h 288000"/>
              <a:gd name="connsiteX81" fmla="*/ 192298 w 288000"/>
              <a:gd name="connsiteY81" fmla="*/ 157702 h 288000"/>
              <a:gd name="connsiteX82" fmla="*/ 190616 w 288000"/>
              <a:gd name="connsiteY82" fmla="*/ 157514 h 288000"/>
              <a:gd name="connsiteX83" fmla="*/ 188561 w 288000"/>
              <a:gd name="connsiteY83" fmla="*/ 157139 h 288000"/>
              <a:gd name="connsiteX84" fmla="*/ 186693 w 288000"/>
              <a:gd name="connsiteY84" fmla="*/ 157514 h 288000"/>
              <a:gd name="connsiteX85" fmla="*/ 184824 w 288000"/>
              <a:gd name="connsiteY85" fmla="*/ 157702 h 288000"/>
              <a:gd name="connsiteX86" fmla="*/ 182956 w 288000"/>
              <a:gd name="connsiteY86" fmla="*/ 158078 h 288000"/>
              <a:gd name="connsiteX87" fmla="*/ 181087 w 288000"/>
              <a:gd name="connsiteY87" fmla="*/ 158828 h 288000"/>
              <a:gd name="connsiteX88" fmla="*/ 179593 w 288000"/>
              <a:gd name="connsiteY88" fmla="*/ 159579 h 288000"/>
              <a:gd name="connsiteX89" fmla="*/ 177911 w 288000"/>
              <a:gd name="connsiteY89" fmla="*/ 160705 h 288000"/>
              <a:gd name="connsiteX90" fmla="*/ 176416 w 288000"/>
              <a:gd name="connsiteY90" fmla="*/ 161644 h 288000"/>
              <a:gd name="connsiteX91" fmla="*/ 174922 w 288000"/>
              <a:gd name="connsiteY91" fmla="*/ 163145 h 288000"/>
              <a:gd name="connsiteX92" fmla="*/ 170998 w 288000"/>
              <a:gd name="connsiteY92" fmla="*/ 167087 h 288000"/>
              <a:gd name="connsiteX93" fmla="*/ 164272 w 288000"/>
              <a:gd name="connsiteY93" fmla="*/ 161456 h 288000"/>
              <a:gd name="connsiteX94" fmla="*/ 157733 w 288000"/>
              <a:gd name="connsiteY94" fmla="*/ 155450 h 288000"/>
              <a:gd name="connsiteX95" fmla="*/ 151193 w 288000"/>
              <a:gd name="connsiteY95" fmla="*/ 149443 h 288000"/>
              <a:gd name="connsiteX96" fmla="*/ 144841 w 288000"/>
              <a:gd name="connsiteY96" fmla="*/ 143062 h 288000"/>
              <a:gd name="connsiteX97" fmla="*/ 138675 w 288000"/>
              <a:gd name="connsiteY97" fmla="*/ 136868 h 288000"/>
              <a:gd name="connsiteX98" fmla="*/ 132696 w 288000"/>
              <a:gd name="connsiteY98" fmla="*/ 130486 h 288000"/>
              <a:gd name="connsiteX99" fmla="*/ 126904 w 288000"/>
              <a:gd name="connsiteY99" fmla="*/ 123729 h 288000"/>
              <a:gd name="connsiteX100" fmla="*/ 121299 w 288000"/>
              <a:gd name="connsiteY100" fmla="*/ 117160 h 288000"/>
              <a:gd name="connsiteX101" fmla="*/ 125223 w 288000"/>
              <a:gd name="connsiteY101" fmla="*/ 113030 h 288000"/>
              <a:gd name="connsiteX102" fmla="*/ 126718 w 288000"/>
              <a:gd name="connsiteY102" fmla="*/ 111529 h 288000"/>
              <a:gd name="connsiteX103" fmla="*/ 127652 w 288000"/>
              <a:gd name="connsiteY103" fmla="*/ 109839 h 288000"/>
              <a:gd name="connsiteX104" fmla="*/ 128586 w 288000"/>
              <a:gd name="connsiteY104" fmla="*/ 108338 h 288000"/>
              <a:gd name="connsiteX105" fmla="*/ 129520 w 288000"/>
              <a:gd name="connsiteY105" fmla="*/ 106648 h 288000"/>
              <a:gd name="connsiteX106" fmla="*/ 130081 w 288000"/>
              <a:gd name="connsiteY106" fmla="*/ 104959 h 288000"/>
              <a:gd name="connsiteX107" fmla="*/ 130641 w 288000"/>
              <a:gd name="connsiteY107" fmla="*/ 103082 h 288000"/>
              <a:gd name="connsiteX108" fmla="*/ 130828 w 288000"/>
              <a:gd name="connsiteY108" fmla="*/ 101018 h 288000"/>
              <a:gd name="connsiteX109" fmla="*/ 130828 w 288000"/>
              <a:gd name="connsiteY109" fmla="*/ 99328 h 288000"/>
              <a:gd name="connsiteX110" fmla="*/ 130828 w 288000"/>
              <a:gd name="connsiteY110" fmla="*/ 97451 h 288000"/>
              <a:gd name="connsiteX111" fmla="*/ 130641 w 288000"/>
              <a:gd name="connsiteY111" fmla="*/ 95574 h 288000"/>
              <a:gd name="connsiteX112" fmla="*/ 130081 w 288000"/>
              <a:gd name="connsiteY112" fmla="*/ 93885 h 288000"/>
              <a:gd name="connsiteX113" fmla="*/ 129520 w 288000"/>
              <a:gd name="connsiteY113" fmla="*/ 92008 h 288000"/>
              <a:gd name="connsiteX114" fmla="*/ 128586 w 288000"/>
              <a:gd name="connsiteY114" fmla="*/ 90131 h 288000"/>
              <a:gd name="connsiteX115" fmla="*/ 127652 w 288000"/>
              <a:gd name="connsiteY115" fmla="*/ 88630 h 288000"/>
              <a:gd name="connsiteX116" fmla="*/ 126718 w 288000"/>
              <a:gd name="connsiteY116" fmla="*/ 86940 h 288000"/>
              <a:gd name="connsiteX117" fmla="*/ 125223 w 288000"/>
              <a:gd name="connsiteY117" fmla="*/ 85626 h 288000"/>
              <a:gd name="connsiteX118" fmla="*/ 107847 w 288000"/>
              <a:gd name="connsiteY118" fmla="*/ 67795 h 288000"/>
              <a:gd name="connsiteX119" fmla="*/ 106165 w 288000"/>
              <a:gd name="connsiteY119" fmla="*/ 66669 h 288000"/>
              <a:gd name="connsiteX120" fmla="*/ 104857 w 288000"/>
              <a:gd name="connsiteY120" fmla="*/ 65355 h 288000"/>
              <a:gd name="connsiteX121" fmla="*/ 103176 w 288000"/>
              <a:gd name="connsiteY121" fmla="*/ 64604 h 288000"/>
              <a:gd name="connsiteX122" fmla="*/ 101308 w 288000"/>
              <a:gd name="connsiteY122" fmla="*/ 63854 h 288000"/>
              <a:gd name="connsiteX123" fmla="*/ 99626 w 288000"/>
              <a:gd name="connsiteY123" fmla="*/ 63103 h 288000"/>
              <a:gd name="connsiteX124" fmla="*/ 97758 w 288000"/>
              <a:gd name="connsiteY124" fmla="*/ 62540 h 288000"/>
              <a:gd name="connsiteX125" fmla="*/ 95889 w 288000"/>
              <a:gd name="connsiteY125" fmla="*/ 62352 h 288000"/>
              <a:gd name="connsiteX126" fmla="*/ 144000 w 288000"/>
              <a:gd name="connsiteY126" fmla="*/ 0 h 288000"/>
              <a:gd name="connsiteX127" fmla="*/ 288000 w 288000"/>
              <a:gd name="connsiteY127" fmla="*/ 144000 h 288000"/>
              <a:gd name="connsiteX128" fmla="*/ 144000 w 288000"/>
              <a:gd name="connsiteY128" fmla="*/ 288000 h 288000"/>
              <a:gd name="connsiteX129" fmla="*/ 0 w 288000"/>
              <a:gd name="connsiteY129" fmla="*/ 144000 h 288000"/>
              <a:gd name="connsiteX130" fmla="*/ 144000 w 288000"/>
              <a:gd name="connsiteY130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288000" h="288000">
                <a:moveTo>
                  <a:pt x="94021" y="62164"/>
                </a:moveTo>
                <a:lnTo>
                  <a:pt x="92152" y="62352"/>
                </a:lnTo>
                <a:lnTo>
                  <a:pt x="90097" y="62540"/>
                </a:lnTo>
                <a:lnTo>
                  <a:pt x="88416" y="63103"/>
                </a:lnTo>
                <a:lnTo>
                  <a:pt x="86547" y="63854"/>
                </a:lnTo>
                <a:lnTo>
                  <a:pt x="84866" y="64604"/>
                </a:lnTo>
                <a:lnTo>
                  <a:pt x="83371" y="65355"/>
                </a:lnTo>
                <a:lnTo>
                  <a:pt x="81690" y="66669"/>
                </a:lnTo>
                <a:lnTo>
                  <a:pt x="80382" y="67983"/>
                </a:lnTo>
                <a:lnTo>
                  <a:pt x="70666" y="77555"/>
                </a:lnTo>
                <a:lnTo>
                  <a:pt x="69171" y="79245"/>
                </a:lnTo>
                <a:lnTo>
                  <a:pt x="67677" y="81309"/>
                </a:lnTo>
                <a:lnTo>
                  <a:pt x="66369" y="83374"/>
                </a:lnTo>
                <a:lnTo>
                  <a:pt x="65248" y="85439"/>
                </a:lnTo>
                <a:lnTo>
                  <a:pt x="64314" y="87503"/>
                </a:lnTo>
                <a:lnTo>
                  <a:pt x="63753" y="89756"/>
                </a:lnTo>
                <a:lnTo>
                  <a:pt x="63193" y="92196"/>
                </a:lnTo>
                <a:lnTo>
                  <a:pt x="62819" y="94448"/>
                </a:lnTo>
                <a:lnTo>
                  <a:pt x="62632" y="96888"/>
                </a:lnTo>
                <a:lnTo>
                  <a:pt x="62632" y="99141"/>
                </a:lnTo>
                <a:lnTo>
                  <a:pt x="63193" y="101393"/>
                </a:lnTo>
                <a:lnTo>
                  <a:pt x="63566" y="103645"/>
                </a:lnTo>
                <a:lnTo>
                  <a:pt x="64127" y="106085"/>
                </a:lnTo>
                <a:lnTo>
                  <a:pt x="64874" y="108338"/>
                </a:lnTo>
                <a:lnTo>
                  <a:pt x="66182" y="110402"/>
                </a:lnTo>
                <a:lnTo>
                  <a:pt x="67303" y="112467"/>
                </a:lnTo>
                <a:lnTo>
                  <a:pt x="72721" y="120350"/>
                </a:lnTo>
                <a:lnTo>
                  <a:pt x="78326" y="128234"/>
                </a:lnTo>
                <a:lnTo>
                  <a:pt x="84118" y="136117"/>
                </a:lnTo>
                <a:lnTo>
                  <a:pt x="90097" y="143625"/>
                </a:lnTo>
                <a:lnTo>
                  <a:pt x="96450" y="150945"/>
                </a:lnTo>
                <a:lnTo>
                  <a:pt x="102615" y="158265"/>
                </a:lnTo>
                <a:lnTo>
                  <a:pt x="109155" y="165210"/>
                </a:lnTo>
                <a:lnTo>
                  <a:pt x="116068" y="172343"/>
                </a:lnTo>
                <a:lnTo>
                  <a:pt x="122794" y="179100"/>
                </a:lnTo>
                <a:lnTo>
                  <a:pt x="130081" y="185669"/>
                </a:lnTo>
                <a:lnTo>
                  <a:pt x="137180" y="192051"/>
                </a:lnTo>
                <a:lnTo>
                  <a:pt x="144654" y="198245"/>
                </a:lnTo>
                <a:lnTo>
                  <a:pt x="152127" y="204251"/>
                </a:lnTo>
                <a:lnTo>
                  <a:pt x="159601" y="210257"/>
                </a:lnTo>
                <a:lnTo>
                  <a:pt x="167448" y="215888"/>
                </a:lnTo>
                <a:lnTo>
                  <a:pt x="175482" y="221332"/>
                </a:lnTo>
                <a:lnTo>
                  <a:pt x="177351" y="222270"/>
                </a:lnTo>
                <a:lnTo>
                  <a:pt x="178845" y="223208"/>
                </a:lnTo>
                <a:lnTo>
                  <a:pt x="180901" y="224147"/>
                </a:lnTo>
                <a:lnTo>
                  <a:pt x="182769" y="224710"/>
                </a:lnTo>
                <a:lnTo>
                  <a:pt x="184824" y="225085"/>
                </a:lnTo>
                <a:lnTo>
                  <a:pt x="186693" y="225461"/>
                </a:lnTo>
                <a:lnTo>
                  <a:pt x="188748" y="225649"/>
                </a:lnTo>
                <a:lnTo>
                  <a:pt x="190803" y="225836"/>
                </a:lnTo>
                <a:lnTo>
                  <a:pt x="193606" y="225649"/>
                </a:lnTo>
                <a:lnTo>
                  <a:pt x="196221" y="225273"/>
                </a:lnTo>
                <a:lnTo>
                  <a:pt x="198837" y="224710"/>
                </a:lnTo>
                <a:lnTo>
                  <a:pt x="201453" y="223584"/>
                </a:lnTo>
                <a:lnTo>
                  <a:pt x="203695" y="222645"/>
                </a:lnTo>
                <a:lnTo>
                  <a:pt x="205937" y="221332"/>
                </a:lnTo>
                <a:lnTo>
                  <a:pt x="208179" y="219642"/>
                </a:lnTo>
                <a:lnTo>
                  <a:pt x="210234" y="217765"/>
                </a:lnTo>
                <a:lnTo>
                  <a:pt x="219763" y="208005"/>
                </a:lnTo>
                <a:lnTo>
                  <a:pt x="221258" y="206503"/>
                </a:lnTo>
                <a:lnTo>
                  <a:pt x="222192" y="205002"/>
                </a:lnTo>
                <a:lnTo>
                  <a:pt x="223126" y="203313"/>
                </a:lnTo>
                <a:lnTo>
                  <a:pt x="224060" y="201811"/>
                </a:lnTo>
                <a:lnTo>
                  <a:pt x="224621" y="199934"/>
                </a:lnTo>
                <a:lnTo>
                  <a:pt x="225181" y="198057"/>
                </a:lnTo>
                <a:lnTo>
                  <a:pt x="225368" y="196368"/>
                </a:lnTo>
                <a:lnTo>
                  <a:pt x="225368" y="194303"/>
                </a:lnTo>
                <a:lnTo>
                  <a:pt x="225368" y="192426"/>
                </a:lnTo>
                <a:lnTo>
                  <a:pt x="225181" y="190737"/>
                </a:lnTo>
                <a:lnTo>
                  <a:pt x="224621" y="188860"/>
                </a:lnTo>
                <a:lnTo>
                  <a:pt x="224060" y="186983"/>
                </a:lnTo>
                <a:lnTo>
                  <a:pt x="223126" y="185294"/>
                </a:lnTo>
                <a:lnTo>
                  <a:pt x="222192" y="183604"/>
                </a:lnTo>
                <a:lnTo>
                  <a:pt x="221258" y="181915"/>
                </a:lnTo>
                <a:lnTo>
                  <a:pt x="219763" y="180601"/>
                </a:lnTo>
                <a:lnTo>
                  <a:pt x="202387" y="163145"/>
                </a:lnTo>
                <a:lnTo>
                  <a:pt x="200892" y="161644"/>
                </a:lnTo>
                <a:lnTo>
                  <a:pt x="199398" y="160705"/>
                </a:lnTo>
                <a:lnTo>
                  <a:pt x="197716" y="159579"/>
                </a:lnTo>
                <a:lnTo>
                  <a:pt x="196034" y="158828"/>
                </a:lnTo>
                <a:lnTo>
                  <a:pt x="194353" y="158078"/>
                </a:lnTo>
                <a:lnTo>
                  <a:pt x="192298" y="157702"/>
                </a:lnTo>
                <a:lnTo>
                  <a:pt x="190616" y="157514"/>
                </a:lnTo>
                <a:lnTo>
                  <a:pt x="188561" y="157139"/>
                </a:lnTo>
                <a:lnTo>
                  <a:pt x="186693" y="157514"/>
                </a:lnTo>
                <a:lnTo>
                  <a:pt x="184824" y="157702"/>
                </a:lnTo>
                <a:lnTo>
                  <a:pt x="182956" y="158078"/>
                </a:lnTo>
                <a:lnTo>
                  <a:pt x="181087" y="158828"/>
                </a:lnTo>
                <a:lnTo>
                  <a:pt x="179593" y="159579"/>
                </a:lnTo>
                <a:lnTo>
                  <a:pt x="177911" y="160705"/>
                </a:lnTo>
                <a:lnTo>
                  <a:pt x="176416" y="161644"/>
                </a:lnTo>
                <a:lnTo>
                  <a:pt x="174922" y="163145"/>
                </a:lnTo>
                <a:lnTo>
                  <a:pt x="170998" y="167087"/>
                </a:lnTo>
                <a:lnTo>
                  <a:pt x="164272" y="161456"/>
                </a:lnTo>
                <a:lnTo>
                  <a:pt x="157733" y="155450"/>
                </a:lnTo>
                <a:lnTo>
                  <a:pt x="151193" y="149443"/>
                </a:lnTo>
                <a:lnTo>
                  <a:pt x="144841" y="143062"/>
                </a:lnTo>
                <a:lnTo>
                  <a:pt x="138675" y="136868"/>
                </a:lnTo>
                <a:lnTo>
                  <a:pt x="132696" y="130486"/>
                </a:lnTo>
                <a:lnTo>
                  <a:pt x="126904" y="123729"/>
                </a:lnTo>
                <a:lnTo>
                  <a:pt x="121299" y="117160"/>
                </a:lnTo>
                <a:lnTo>
                  <a:pt x="125223" y="113030"/>
                </a:lnTo>
                <a:lnTo>
                  <a:pt x="126718" y="111529"/>
                </a:lnTo>
                <a:lnTo>
                  <a:pt x="127652" y="109839"/>
                </a:lnTo>
                <a:lnTo>
                  <a:pt x="128586" y="108338"/>
                </a:lnTo>
                <a:lnTo>
                  <a:pt x="129520" y="106648"/>
                </a:lnTo>
                <a:lnTo>
                  <a:pt x="130081" y="104959"/>
                </a:lnTo>
                <a:lnTo>
                  <a:pt x="130641" y="103082"/>
                </a:lnTo>
                <a:lnTo>
                  <a:pt x="130828" y="101018"/>
                </a:lnTo>
                <a:lnTo>
                  <a:pt x="130828" y="99328"/>
                </a:lnTo>
                <a:lnTo>
                  <a:pt x="130828" y="97451"/>
                </a:lnTo>
                <a:lnTo>
                  <a:pt x="130641" y="95574"/>
                </a:lnTo>
                <a:lnTo>
                  <a:pt x="130081" y="93885"/>
                </a:lnTo>
                <a:lnTo>
                  <a:pt x="129520" y="92008"/>
                </a:lnTo>
                <a:lnTo>
                  <a:pt x="128586" y="90131"/>
                </a:lnTo>
                <a:lnTo>
                  <a:pt x="127652" y="88630"/>
                </a:lnTo>
                <a:lnTo>
                  <a:pt x="126718" y="86940"/>
                </a:lnTo>
                <a:lnTo>
                  <a:pt x="125223" y="85626"/>
                </a:lnTo>
                <a:lnTo>
                  <a:pt x="107847" y="67795"/>
                </a:lnTo>
                <a:lnTo>
                  <a:pt x="106165" y="66669"/>
                </a:lnTo>
                <a:lnTo>
                  <a:pt x="104857" y="65355"/>
                </a:lnTo>
                <a:lnTo>
                  <a:pt x="103176" y="64604"/>
                </a:lnTo>
                <a:lnTo>
                  <a:pt x="101308" y="63854"/>
                </a:lnTo>
                <a:lnTo>
                  <a:pt x="99626" y="63103"/>
                </a:lnTo>
                <a:lnTo>
                  <a:pt x="97758" y="62540"/>
                </a:lnTo>
                <a:lnTo>
                  <a:pt x="95889" y="62352"/>
                </a:lnTo>
                <a:close/>
                <a:moveTo>
                  <a:pt x="144000" y="0"/>
                </a:moveTo>
                <a:cubicBezTo>
                  <a:pt x="223529" y="0"/>
                  <a:pt x="288000" y="64471"/>
                  <a:pt x="288000" y="144000"/>
                </a:cubicBezTo>
                <a:cubicBezTo>
                  <a:pt x="288000" y="223529"/>
                  <a:pt x="223529" y="288000"/>
                  <a:pt x="144000" y="288000"/>
                </a:cubicBezTo>
                <a:cubicBezTo>
                  <a:pt x="64471" y="288000"/>
                  <a:pt x="0" y="223529"/>
                  <a:pt x="0" y="144000"/>
                </a:cubicBezTo>
                <a:cubicBezTo>
                  <a:pt x="0" y="64471"/>
                  <a:pt x="64471" y="0"/>
                  <a:pt x="144000" y="0"/>
                </a:cubicBez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1" dirty="0"/>
          </a:p>
        </p:txBody>
      </p:sp>
      <p:sp>
        <p:nvSpPr>
          <p:cNvPr id="29" name="Freeform 37">
            <a:extLst>
              <a:ext uri="{FF2B5EF4-FFF2-40B4-BE49-F238E27FC236}">
                <a16:creationId xmlns:a16="http://schemas.microsoft.com/office/drawing/2014/main" id="{4480D527-C443-43F4-B480-FD0664D48D0A}"/>
              </a:ext>
            </a:extLst>
          </p:cNvPr>
          <p:cNvSpPr/>
          <p:nvPr/>
        </p:nvSpPr>
        <p:spPr>
          <a:xfrm>
            <a:off x="1525919" y="5282418"/>
            <a:ext cx="225269" cy="225269"/>
          </a:xfrm>
          <a:custGeom>
            <a:avLst/>
            <a:gdLst>
              <a:gd name="connsiteX0" fmla="*/ 181322 w 300358"/>
              <a:gd name="connsiteY0" fmla="*/ 204392 h 300358"/>
              <a:gd name="connsiteX1" fmla="*/ 179296 w 300358"/>
              <a:gd name="connsiteY1" fmla="*/ 209155 h 300358"/>
              <a:gd name="connsiteX2" fmla="*/ 177270 w 300358"/>
              <a:gd name="connsiteY2" fmla="*/ 213711 h 300358"/>
              <a:gd name="connsiteX3" fmla="*/ 175041 w 300358"/>
              <a:gd name="connsiteY3" fmla="*/ 218474 h 300358"/>
              <a:gd name="connsiteX4" fmla="*/ 172610 w 300358"/>
              <a:gd name="connsiteY4" fmla="*/ 223237 h 300358"/>
              <a:gd name="connsiteX5" fmla="*/ 169773 w 300358"/>
              <a:gd name="connsiteY5" fmla="*/ 227793 h 300358"/>
              <a:gd name="connsiteX6" fmla="*/ 167140 w 300358"/>
              <a:gd name="connsiteY6" fmla="*/ 232556 h 300358"/>
              <a:gd name="connsiteX7" fmla="*/ 164303 w 300358"/>
              <a:gd name="connsiteY7" fmla="*/ 237318 h 300358"/>
              <a:gd name="connsiteX8" fmla="*/ 161264 w 300358"/>
              <a:gd name="connsiteY8" fmla="*/ 241874 h 300358"/>
              <a:gd name="connsiteX9" fmla="*/ 165924 w 300358"/>
              <a:gd name="connsiteY9" fmla="*/ 241046 h 300358"/>
              <a:gd name="connsiteX10" fmla="*/ 170381 w 300358"/>
              <a:gd name="connsiteY10" fmla="*/ 240218 h 300358"/>
              <a:gd name="connsiteX11" fmla="*/ 174838 w 300358"/>
              <a:gd name="connsiteY11" fmla="*/ 238768 h 300358"/>
              <a:gd name="connsiteX12" fmla="*/ 179296 w 300358"/>
              <a:gd name="connsiteY12" fmla="*/ 237318 h 300358"/>
              <a:gd name="connsiteX13" fmla="*/ 183550 w 300358"/>
              <a:gd name="connsiteY13" fmla="*/ 235662 h 300358"/>
              <a:gd name="connsiteX14" fmla="*/ 187805 w 300358"/>
              <a:gd name="connsiteY14" fmla="*/ 233798 h 300358"/>
              <a:gd name="connsiteX15" fmla="*/ 191655 w 300358"/>
              <a:gd name="connsiteY15" fmla="*/ 231520 h 300358"/>
              <a:gd name="connsiteX16" fmla="*/ 195504 w 300358"/>
              <a:gd name="connsiteY16" fmla="*/ 229242 h 300358"/>
              <a:gd name="connsiteX17" fmla="*/ 199353 w 300358"/>
              <a:gd name="connsiteY17" fmla="*/ 226757 h 300358"/>
              <a:gd name="connsiteX18" fmla="*/ 203203 w 300358"/>
              <a:gd name="connsiteY18" fmla="*/ 223858 h 300358"/>
              <a:gd name="connsiteX19" fmla="*/ 206647 w 300358"/>
              <a:gd name="connsiteY19" fmla="*/ 221166 h 300358"/>
              <a:gd name="connsiteX20" fmla="*/ 210091 w 300358"/>
              <a:gd name="connsiteY20" fmla="*/ 218060 h 300358"/>
              <a:gd name="connsiteX21" fmla="*/ 213130 w 300358"/>
              <a:gd name="connsiteY21" fmla="*/ 214746 h 300358"/>
              <a:gd name="connsiteX22" fmla="*/ 216170 w 300358"/>
              <a:gd name="connsiteY22" fmla="*/ 211433 h 300358"/>
              <a:gd name="connsiteX23" fmla="*/ 219209 w 300358"/>
              <a:gd name="connsiteY23" fmla="*/ 207913 h 300358"/>
              <a:gd name="connsiteX24" fmla="*/ 222045 w 300358"/>
              <a:gd name="connsiteY24" fmla="*/ 204392 h 300358"/>
              <a:gd name="connsiteX25" fmla="*/ 121756 w 300358"/>
              <a:gd name="connsiteY25" fmla="*/ 204392 h 300358"/>
              <a:gd name="connsiteX26" fmla="*/ 123767 w 300358"/>
              <a:gd name="connsiteY26" fmla="*/ 209152 h 300358"/>
              <a:gd name="connsiteX27" fmla="*/ 125978 w 300358"/>
              <a:gd name="connsiteY27" fmla="*/ 213913 h 300358"/>
              <a:gd name="connsiteX28" fmla="*/ 128391 w 300358"/>
              <a:gd name="connsiteY28" fmla="*/ 218673 h 300358"/>
              <a:gd name="connsiteX29" fmla="*/ 131005 w 300358"/>
              <a:gd name="connsiteY29" fmla="*/ 223433 h 300358"/>
              <a:gd name="connsiteX30" fmla="*/ 133819 w 300358"/>
              <a:gd name="connsiteY30" fmla="*/ 228193 h 300358"/>
              <a:gd name="connsiteX31" fmla="*/ 136835 w 300358"/>
              <a:gd name="connsiteY31" fmla="*/ 233367 h 300358"/>
              <a:gd name="connsiteX32" fmla="*/ 139851 w 300358"/>
              <a:gd name="connsiteY32" fmla="*/ 238127 h 300358"/>
              <a:gd name="connsiteX33" fmla="*/ 143068 w 300358"/>
              <a:gd name="connsiteY33" fmla="*/ 242887 h 300358"/>
              <a:gd name="connsiteX34" fmla="*/ 145280 w 300358"/>
              <a:gd name="connsiteY34" fmla="*/ 242887 h 300358"/>
              <a:gd name="connsiteX35" fmla="*/ 147893 w 300358"/>
              <a:gd name="connsiteY35" fmla="*/ 242887 h 300358"/>
              <a:gd name="connsiteX36" fmla="*/ 150507 w 300358"/>
              <a:gd name="connsiteY36" fmla="*/ 242887 h 300358"/>
              <a:gd name="connsiteX37" fmla="*/ 152920 w 300358"/>
              <a:gd name="connsiteY37" fmla="*/ 242887 h 300358"/>
              <a:gd name="connsiteX38" fmla="*/ 156137 w 300358"/>
              <a:gd name="connsiteY38" fmla="*/ 238127 h 300358"/>
              <a:gd name="connsiteX39" fmla="*/ 159354 w 300358"/>
              <a:gd name="connsiteY39" fmla="*/ 232953 h 300358"/>
              <a:gd name="connsiteX40" fmla="*/ 162169 w 300358"/>
              <a:gd name="connsiteY40" fmla="*/ 228193 h 300358"/>
              <a:gd name="connsiteX41" fmla="*/ 164983 w 300358"/>
              <a:gd name="connsiteY41" fmla="*/ 223433 h 300358"/>
              <a:gd name="connsiteX42" fmla="*/ 167798 w 300358"/>
              <a:gd name="connsiteY42" fmla="*/ 218673 h 300358"/>
              <a:gd name="connsiteX43" fmla="*/ 170211 w 300358"/>
              <a:gd name="connsiteY43" fmla="*/ 213913 h 300358"/>
              <a:gd name="connsiteX44" fmla="*/ 172422 w 300358"/>
              <a:gd name="connsiteY44" fmla="*/ 209152 h 300358"/>
              <a:gd name="connsiteX45" fmla="*/ 174433 w 300358"/>
              <a:gd name="connsiteY45" fmla="*/ 204392 h 300358"/>
              <a:gd name="connsiteX46" fmla="*/ 74145 w 300358"/>
              <a:gd name="connsiteY46" fmla="*/ 204392 h 300358"/>
              <a:gd name="connsiteX47" fmla="*/ 76991 w 300358"/>
              <a:gd name="connsiteY47" fmla="*/ 207913 h 300358"/>
              <a:gd name="connsiteX48" fmla="*/ 79837 w 300358"/>
              <a:gd name="connsiteY48" fmla="*/ 211433 h 300358"/>
              <a:gd name="connsiteX49" fmla="*/ 82886 w 300358"/>
              <a:gd name="connsiteY49" fmla="*/ 214746 h 300358"/>
              <a:gd name="connsiteX50" fmla="*/ 86139 w 300358"/>
              <a:gd name="connsiteY50" fmla="*/ 218060 h 300358"/>
              <a:gd name="connsiteX51" fmla="*/ 89594 w 300358"/>
              <a:gd name="connsiteY51" fmla="*/ 221166 h 300358"/>
              <a:gd name="connsiteX52" fmla="*/ 93050 w 300358"/>
              <a:gd name="connsiteY52" fmla="*/ 224065 h 300358"/>
              <a:gd name="connsiteX53" fmla="*/ 96912 w 300358"/>
              <a:gd name="connsiteY53" fmla="*/ 226757 h 300358"/>
              <a:gd name="connsiteX54" fmla="*/ 100572 w 300358"/>
              <a:gd name="connsiteY54" fmla="*/ 229449 h 300358"/>
              <a:gd name="connsiteX55" fmla="*/ 104434 w 300358"/>
              <a:gd name="connsiteY55" fmla="*/ 231727 h 300358"/>
              <a:gd name="connsiteX56" fmla="*/ 108500 w 300358"/>
              <a:gd name="connsiteY56" fmla="*/ 233798 h 300358"/>
              <a:gd name="connsiteX57" fmla="*/ 112768 w 300358"/>
              <a:gd name="connsiteY57" fmla="*/ 235869 h 300358"/>
              <a:gd name="connsiteX58" fmla="*/ 117037 w 300358"/>
              <a:gd name="connsiteY58" fmla="*/ 237318 h 300358"/>
              <a:gd name="connsiteX59" fmla="*/ 121306 w 300358"/>
              <a:gd name="connsiteY59" fmla="*/ 238975 h 300358"/>
              <a:gd name="connsiteX60" fmla="*/ 125778 w 300358"/>
              <a:gd name="connsiteY60" fmla="*/ 240218 h 300358"/>
              <a:gd name="connsiteX61" fmla="*/ 130251 w 300358"/>
              <a:gd name="connsiteY61" fmla="*/ 241253 h 300358"/>
              <a:gd name="connsiteX62" fmla="*/ 134926 w 300358"/>
              <a:gd name="connsiteY62" fmla="*/ 241874 h 300358"/>
              <a:gd name="connsiteX63" fmla="*/ 131674 w 300358"/>
              <a:gd name="connsiteY63" fmla="*/ 237318 h 300358"/>
              <a:gd name="connsiteX64" fmla="*/ 128828 w 300358"/>
              <a:gd name="connsiteY64" fmla="*/ 232556 h 300358"/>
              <a:gd name="connsiteX65" fmla="*/ 126185 w 300358"/>
              <a:gd name="connsiteY65" fmla="*/ 227793 h 300358"/>
              <a:gd name="connsiteX66" fmla="*/ 123542 w 300358"/>
              <a:gd name="connsiteY66" fmla="*/ 223237 h 300358"/>
              <a:gd name="connsiteX67" fmla="*/ 121103 w 300358"/>
              <a:gd name="connsiteY67" fmla="*/ 218474 h 300358"/>
              <a:gd name="connsiteX68" fmla="*/ 118867 w 300358"/>
              <a:gd name="connsiteY68" fmla="*/ 213711 h 300358"/>
              <a:gd name="connsiteX69" fmla="*/ 116834 w 300358"/>
              <a:gd name="connsiteY69" fmla="*/ 209155 h 300358"/>
              <a:gd name="connsiteX70" fmla="*/ 114801 w 300358"/>
              <a:gd name="connsiteY70" fmla="*/ 204392 h 300358"/>
              <a:gd name="connsiteX71" fmla="*/ 192700 w 300358"/>
              <a:gd name="connsiteY71" fmla="*/ 157794 h 300358"/>
              <a:gd name="connsiteX72" fmla="*/ 192294 w 300358"/>
              <a:gd name="connsiteY72" fmla="*/ 163010 h 300358"/>
              <a:gd name="connsiteX73" fmla="*/ 191480 w 300358"/>
              <a:gd name="connsiteY73" fmla="*/ 167824 h 300358"/>
              <a:gd name="connsiteX74" fmla="*/ 190667 w 300358"/>
              <a:gd name="connsiteY74" fmla="*/ 172839 h 300358"/>
              <a:gd name="connsiteX75" fmla="*/ 189447 w 300358"/>
              <a:gd name="connsiteY75" fmla="*/ 178055 h 300358"/>
              <a:gd name="connsiteX76" fmla="*/ 188430 w 300358"/>
              <a:gd name="connsiteY76" fmla="*/ 183070 h 300358"/>
              <a:gd name="connsiteX77" fmla="*/ 186804 w 300358"/>
              <a:gd name="connsiteY77" fmla="*/ 188085 h 300358"/>
              <a:gd name="connsiteX78" fmla="*/ 185380 w 300358"/>
              <a:gd name="connsiteY78" fmla="*/ 193300 h 300358"/>
              <a:gd name="connsiteX79" fmla="*/ 183550 w 300358"/>
              <a:gd name="connsiteY79" fmla="*/ 198315 h 300358"/>
              <a:gd name="connsiteX80" fmla="*/ 226049 w 300358"/>
              <a:gd name="connsiteY80" fmla="*/ 198315 h 300358"/>
              <a:gd name="connsiteX81" fmla="*/ 228692 w 300358"/>
              <a:gd name="connsiteY81" fmla="*/ 193902 h 300358"/>
              <a:gd name="connsiteX82" fmla="*/ 230929 w 300358"/>
              <a:gd name="connsiteY82" fmla="*/ 189088 h 300358"/>
              <a:gd name="connsiteX83" fmla="*/ 233166 w 300358"/>
              <a:gd name="connsiteY83" fmla="*/ 184073 h 300358"/>
              <a:gd name="connsiteX84" fmla="*/ 234996 w 300358"/>
              <a:gd name="connsiteY84" fmla="*/ 179058 h 300358"/>
              <a:gd name="connsiteX85" fmla="*/ 236623 w 300358"/>
              <a:gd name="connsiteY85" fmla="*/ 174043 h 300358"/>
              <a:gd name="connsiteX86" fmla="*/ 237639 w 300358"/>
              <a:gd name="connsiteY86" fmla="*/ 168627 h 300358"/>
              <a:gd name="connsiteX87" fmla="*/ 238656 w 300358"/>
              <a:gd name="connsiteY87" fmla="*/ 163411 h 300358"/>
              <a:gd name="connsiteX88" fmla="*/ 239266 w 300358"/>
              <a:gd name="connsiteY88" fmla="*/ 157794 h 300358"/>
              <a:gd name="connsiteX89" fmla="*/ 108587 w 300358"/>
              <a:gd name="connsiteY89" fmla="*/ 157794 h 300358"/>
              <a:gd name="connsiteX90" fmla="*/ 109195 w 300358"/>
              <a:gd name="connsiteY90" fmla="*/ 163010 h 300358"/>
              <a:gd name="connsiteX91" fmla="*/ 110005 w 300358"/>
              <a:gd name="connsiteY91" fmla="*/ 167824 h 300358"/>
              <a:gd name="connsiteX92" fmla="*/ 110816 w 300358"/>
              <a:gd name="connsiteY92" fmla="*/ 172839 h 300358"/>
              <a:gd name="connsiteX93" fmla="*/ 111829 w 300358"/>
              <a:gd name="connsiteY93" fmla="*/ 178055 h 300358"/>
              <a:gd name="connsiteX94" fmla="*/ 113247 w 300358"/>
              <a:gd name="connsiteY94" fmla="*/ 183070 h 300358"/>
              <a:gd name="connsiteX95" fmla="*/ 114868 w 300358"/>
              <a:gd name="connsiteY95" fmla="*/ 188085 h 300358"/>
              <a:gd name="connsiteX96" fmla="*/ 116691 w 300358"/>
              <a:gd name="connsiteY96" fmla="*/ 193300 h 300358"/>
              <a:gd name="connsiteX97" fmla="*/ 118312 w 300358"/>
              <a:gd name="connsiteY97" fmla="*/ 198315 h 300358"/>
              <a:gd name="connsiteX98" fmla="*/ 176864 w 300358"/>
              <a:gd name="connsiteY98" fmla="*/ 198315 h 300358"/>
              <a:gd name="connsiteX99" fmla="*/ 178688 w 300358"/>
              <a:gd name="connsiteY99" fmla="*/ 193300 h 300358"/>
              <a:gd name="connsiteX100" fmla="*/ 180511 w 300358"/>
              <a:gd name="connsiteY100" fmla="*/ 188085 h 300358"/>
              <a:gd name="connsiteX101" fmla="*/ 181929 w 300358"/>
              <a:gd name="connsiteY101" fmla="*/ 183070 h 300358"/>
              <a:gd name="connsiteX102" fmla="*/ 183347 w 300358"/>
              <a:gd name="connsiteY102" fmla="*/ 178055 h 300358"/>
              <a:gd name="connsiteX103" fmla="*/ 184360 w 300358"/>
              <a:gd name="connsiteY103" fmla="*/ 172839 h 300358"/>
              <a:gd name="connsiteX104" fmla="*/ 185373 w 300358"/>
              <a:gd name="connsiteY104" fmla="*/ 167824 h 300358"/>
              <a:gd name="connsiteX105" fmla="*/ 186184 w 300358"/>
              <a:gd name="connsiteY105" fmla="*/ 163010 h 300358"/>
              <a:gd name="connsiteX106" fmla="*/ 186589 w 300358"/>
              <a:gd name="connsiteY106" fmla="*/ 157794 h 300358"/>
              <a:gd name="connsiteX107" fmla="*/ 56923 w 300358"/>
              <a:gd name="connsiteY107" fmla="*/ 157794 h 300358"/>
              <a:gd name="connsiteX108" fmla="*/ 57733 w 300358"/>
              <a:gd name="connsiteY108" fmla="*/ 163411 h 300358"/>
              <a:gd name="connsiteX109" fmla="*/ 58746 w 300358"/>
              <a:gd name="connsiteY109" fmla="*/ 168627 h 300358"/>
              <a:gd name="connsiteX110" fmla="*/ 59962 w 300358"/>
              <a:gd name="connsiteY110" fmla="*/ 174043 h 300358"/>
              <a:gd name="connsiteX111" fmla="*/ 61380 w 300358"/>
              <a:gd name="connsiteY111" fmla="*/ 179058 h 300358"/>
              <a:gd name="connsiteX112" fmla="*/ 63406 w 300358"/>
              <a:gd name="connsiteY112" fmla="*/ 184073 h 300358"/>
              <a:gd name="connsiteX113" fmla="*/ 65432 w 300358"/>
              <a:gd name="connsiteY113" fmla="*/ 189088 h 300358"/>
              <a:gd name="connsiteX114" fmla="*/ 67864 w 300358"/>
              <a:gd name="connsiteY114" fmla="*/ 193902 h 300358"/>
              <a:gd name="connsiteX115" fmla="*/ 70700 w 300358"/>
              <a:gd name="connsiteY115" fmla="*/ 198315 h 300358"/>
              <a:gd name="connsiteX116" fmla="*/ 112639 w 300358"/>
              <a:gd name="connsiteY116" fmla="*/ 198315 h 300358"/>
              <a:gd name="connsiteX117" fmla="*/ 110816 w 300358"/>
              <a:gd name="connsiteY117" fmla="*/ 193300 h 300358"/>
              <a:gd name="connsiteX118" fmla="*/ 109195 w 300358"/>
              <a:gd name="connsiteY118" fmla="*/ 188085 h 300358"/>
              <a:gd name="connsiteX119" fmla="*/ 107574 w 300358"/>
              <a:gd name="connsiteY119" fmla="*/ 183070 h 300358"/>
              <a:gd name="connsiteX120" fmla="*/ 106561 w 300358"/>
              <a:gd name="connsiteY120" fmla="*/ 178055 h 300358"/>
              <a:gd name="connsiteX121" fmla="*/ 105345 w 300358"/>
              <a:gd name="connsiteY121" fmla="*/ 172839 h 300358"/>
              <a:gd name="connsiteX122" fmla="*/ 104535 w 300358"/>
              <a:gd name="connsiteY122" fmla="*/ 168025 h 300358"/>
              <a:gd name="connsiteX123" fmla="*/ 103927 w 300358"/>
              <a:gd name="connsiteY123" fmla="*/ 163010 h 300358"/>
              <a:gd name="connsiteX124" fmla="*/ 103319 w 300358"/>
              <a:gd name="connsiteY124" fmla="*/ 157794 h 300358"/>
              <a:gd name="connsiteX125" fmla="*/ 188615 w 300358"/>
              <a:gd name="connsiteY125" fmla="*/ 110182 h 300358"/>
              <a:gd name="connsiteX126" fmla="*/ 189821 w 300358"/>
              <a:gd name="connsiteY126" fmla="*/ 115093 h 300358"/>
              <a:gd name="connsiteX127" fmla="*/ 191027 w 300358"/>
              <a:gd name="connsiteY127" fmla="*/ 120412 h 300358"/>
              <a:gd name="connsiteX128" fmla="*/ 191831 w 300358"/>
              <a:gd name="connsiteY128" fmla="*/ 125527 h 300358"/>
              <a:gd name="connsiteX129" fmla="*/ 192635 w 300358"/>
              <a:gd name="connsiteY129" fmla="*/ 130642 h 300358"/>
              <a:gd name="connsiteX130" fmla="*/ 193238 w 300358"/>
              <a:gd name="connsiteY130" fmla="*/ 135962 h 300358"/>
              <a:gd name="connsiteX131" fmla="*/ 193439 w 300358"/>
              <a:gd name="connsiteY131" fmla="*/ 141077 h 300358"/>
              <a:gd name="connsiteX132" fmla="*/ 193439 w 300358"/>
              <a:gd name="connsiteY132" fmla="*/ 146192 h 300358"/>
              <a:gd name="connsiteX133" fmla="*/ 193439 w 300358"/>
              <a:gd name="connsiteY133" fmla="*/ 151716 h 300358"/>
              <a:gd name="connsiteX134" fmla="*/ 239266 w 300358"/>
              <a:gd name="connsiteY134" fmla="*/ 151716 h 300358"/>
              <a:gd name="connsiteX135" fmla="*/ 239266 w 300358"/>
              <a:gd name="connsiteY135" fmla="*/ 151102 h 300358"/>
              <a:gd name="connsiteX136" fmla="*/ 239266 w 300358"/>
              <a:gd name="connsiteY136" fmla="*/ 150898 h 300358"/>
              <a:gd name="connsiteX137" fmla="*/ 239065 w 300358"/>
              <a:gd name="connsiteY137" fmla="*/ 145578 h 300358"/>
              <a:gd name="connsiteX138" fmla="*/ 238663 w 300358"/>
              <a:gd name="connsiteY138" fmla="*/ 140259 h 300358"/>
              <a:gd name="connsiteX139" fmla="*/ 237859 w 300358"/>
              <a:gd name="connsiteY139" fmla="*/ 134734 h 300358"/>
              <a:gd name="connsiteX140" fmla="*/ 236854 w 300358"/>
              <a:gd name="connsiteY140" fmla="*/ 129619 h 300358"/>
              <a:gd name="connsiteX141" fmla="*/ 235447 w 300358"/>
              <a:gd name="connsiteY141" fmla="*/ 124709 h 300358"/>
              <a:gd name="connsiteX142" fmla="*/ 234040 w 300358"/>
              <a:gd name="connsiteY142" fmla="*/ 119594 h 300358"/>
              <a:gd name="connsiteX143" fmla="*/ 232030 w 300358"/>
              <a:gd name="connsiteY143" fmla="*/ 114888 h 300358"/>
              <a:gd name="connsiteX144" fmla="*/ 229819 w 300358"/>
              <a:gd name="connsiteY144" fmla="*/ 110182 h 300358"/>
              <a:gd name="connsiteX145" fmla="*/ 113855 w 300358"/>
              <a:gd name="connsiteY145" fmla="*/ 110182 h 300358"/>
              <a:gd name="connsiteX146" fmla="*/ 112234 w 300358"/>
              <a:gd name="connsiteY146" fmla="*/ 115093 h 300358"/>
              <a:gd name="connsiteX147" fmla="*/ 111221 w 300358"/>
              <a:gd name="connsiteY147" fmla="*/ 120412 h 300358"/>
              <a:gd name="connsiteX148" fmla="*/ 110410 w 300358"/>
              <a:gd name="connsiteY148" fmla="*/ 125527 h 300358"/>
              <a:gd name="connsiteX149" fmla="*/ 109397 w 300358"/>
              <a:gd name="connsiteY149" fmla="*/ 130642 h 300358"/>
              <a:gd name="connsiteX150" fmla="*/ 108992 w 300358"/>
              <a:gd name="connsiteY150" fmla="*/ 135962 h 300358"/>
              <a:gd name="connsiteX151" fmla="*/ 108587 w 300358"/>
              <a:gd name="connsiteY151" fmla="*/ 141077 h 300358"/>
              <a:gd name="connsiteX152" fmla="*/ 108587 w 300358"/>
              <a:gd name="connsiteY152" fmla="*/ 146192 h 300358"/>
              <a:gd name="connsiteX153" fmla="*/ 108587 w 300358"/>
              <a:gd name="connsiteY153" fmla="*/ 151716 h 300358"/>
              <a:gd name="connsiteX154" fmla="*/ 187602 w 300358"/>
              <a:gd name="connsiteY154" fmla="*/ 151716 h 300358"/>
              <a:gd name="connsiteX155" fmla="*/ 187602 w 300358"/>
              <a:gd name="connsiteY155" fmla="*/ 146192 h 300358"/>
              <a:gd name="connsiteX156" fmla="*/ 187602 w 300358"/>
              <a:gd name="connsiteY156" fmla="*/ 141077 h 300358"/>
              <a:gd name="connsiteX157" fmla="*/ 186994 w 300358"/>
              <a:gd name="connsiteY157" fmla="*/ 135962 h 300358"/>
              <a:gd name="connsiteX158" fmla="*/ 186589 w 300358"/>
              <a:gd name="connsiteY158" fmla="*/ 130642 h 300358"/>
              <a:gd name="connsiteX159" fmla="*/ 185779 w 300358"/>
              <a:gd name="connsiteY159" fmla="*/ 125527 h 300358"/>
              <a:gd name="connsiteX160" fmla="*/ 184766 w 300358"/>
              <a:gd name="connsiteY160" fmla="*/ 120412 h 300358"/>
              <a:gd name="connsiteX161" fmla="*/ 183753 w 300358"/>
              <a:gd name="connsiteY161" fmla="*/ 115093 h 300358"/>
              <a:gd name="connsiteX162" fmla="*/ 182132 w 300358"/>
              <a:gd name="connsiteY162" fmla="*/ 110182 h 300358"/>
              <a:gd name="connsiteX163" fmla="*/ 65365 w 300358"/>
              <a:gd name="connsiteY163" fmla="*/ 110182 h 300358"/>
              <a:gd name="connsiteX164" fmla="*/ 63556 w 300358"/>
              <a:gd name="connsiteY164" fmla="*/ 114683 h 300358"/>
              <a:gd name="connsiteX165" fmla="*/ 61948 w 300358"/>
              <a:gd name="connsiteY165" fmla="*/ 119185 h 300358"/>
              <a:gd name="connsiteX166" fmla="*/ 60340 w 300358"/>
              <a:gd name="connsiteY166" fmla="*/ 123891 h 300358"/>
              <a:gd name="connsiteX167" fmla="*/ 59134 w 300358"/>
              <a:gd name="connsiteY167" fmla="*/ 128801 h 300358"/>
              <a:gd name="connsiteX168" fmla="*/ 58129 w 300358"/>
              <a:gd name="connsiteY168" fmla="*/ 133916 h 300358"/>
              <a:gd name="connsiteX169" fmla="*/ 57526 w 300358"/>
              <a:gd name="connsiteY169" fmla="*/ 138826 h 300358"/>
              <a:gd name="connsiteX170" fmla="*/ 56923 w 300358"/>
              <a:gd name="connsiteY170" fmla="*/ 143941 h 300358"/>
              <a:gd name="connsiteX171" fmla="*/ 56923 w 300358"/>
              <a:gd name="connsiteY171" fmla="*/ 149466 h 300358"/>
              <a:gd name="connsiteX172" fmla="*/ 56923 w 300358"/>
              <a:gd name="connsiteY172" fmla="*/ 150489 h 300358"/>
              <a:gd name="connsiteX173" fmla="*/ 56923 w 300358"/>
              <a:gd name="connsiteY173" fmla="*/ 151716 h 300358"/>
              <a:gd name="connsiteX174" fmla="*/ 102750 w 300358"/>
              <a:gd name="connsiteY174" fmla="*/ 151716 h 300358"/>
              <a:gd name="connsiteX175" fmla="*/ 102750 w 300358"/>
              <a:gd name="connsiteY175" fmla="*/ 146192 h 300358"/>
              <a:gd name="connsiteX176" fmla="*/ 102750 w 300358"/>
              <a:gd name="connsiteY176" fmla="*/ 141077 h 300358"/>
              <a:gd name="connsiteX177" fmla="*/ 102951 w 300358"/>
              <a:gd name="connsiteY177" fmla="*/ 135962 h 300358"/>
              <a:gd name="connsiteX178" fmla="*/ 103755 w 300358"/>
              <a:gd name="connsiteY178" fmla="*/ 130642 h 300358"/>
              <a:gd name="connsiteX179" fmla="*/ 104358 w 300358"/>
              <a:gd name="connsiteY179" fmla="*/ 125527 h 300358"/>
              <a:gd name="connsiteX180" fmla="*/ 105162 w 300358"/>
              <a:gd name="connsiteY180" fmla="*/ 120412 h 300358"/>
              <a:gd name="connsiteX181" fmla="*/ 106368 w 300358"/>
              <a:gd name="connsiteY181" fmla="*/ 115093 h 300358"/>
              <a:gd name="connsiteX182" fmla="*/ 107574 w 300358"/>
              <a:gd name="connsiteY182" fmla="*/ 110182 h 300358"/>
              <a:gd name="connsiteX183" fmla="*/ 162276 w 300358"/>
              <a:gd name="connsiteY183" fmla="*/ 61557 h 300358"/>
              <a:gd name="connsiteX184" fmla="*/ 166113 w 300358"/>
              <a:gd name="connsiteY184" fmla="*/ 66528 h 300358"/>
              <a:gd name="connsiteX185" fmla="*/ 169951 w 300358"/>
              <a:gd name="connsiteY185" fmla="*/ 71697 h 300358"/>
              <a:gd name="connsiteX186" fmla="*/ 173182 w 300358"/>
              <a:gd name="connsiteY186" fmla="*/ 77065 h 300358"/>
              <a:gd name="connsiteX187" fmla="*/ 176413 w 300358"/>
              <a:gd name="connsiteY187" fmla="*/ 82234 h 300358"/>
              <a:gd name="connsiteX188" fmla="*/ 179241 w 300358"/>
              <a:gd name="connsiteY188" fmla="*/ 87602 h 300358"/>
              <a:gd name="connsiteX189" fmla="*/ 181664 w 300358"/>
              <a:gd name="connsiteY189" fmla="*/ 92970 h 300358"/>
              <a:gd name="connsiteX190" fmla="*/ 184088 w 300358"/>
              <a:gd name="connsiteY190" fmla="*/ 98537 h 300358"/>
              <a:gd name="connsiteX191" fmla="*/ 186108 w 300358"/>
              <a:gd name="connsiteY191" fmla="*/ 104104 h 300358"/>
              <a:gd name="connsiteX192" fmla="*/ 226096 w 300358"/>
              <a:gd name="connsiteY192" fmla="*/ 104104 h 300358"/>
              <a:gd name="connsiteX193" fmla="*/ 223471 w 300358"/>
              <a:gd name="connsiteY193" fmla="*/ 99929 h 300358"/>
              <a:gd name="connsiteX194" fmla="*/ 220643 w 300358"/>
              <a:gd name="connsiteY194" fmla="*/ 96152 h 300358"/>
              <a:gd name="connsiteX195" fmla="*/ 217412 w 300358"/>
              <a:gd name="connsiteY195" fmla="*/ 92374 h 300358"/>
              <a:gd name="connsiteX196" fmla="*/ 214180 w 300358"/>
              <a:gd name="connsiteY196" fmla="*/ 88596 h 300358"/>
              <a:gd name="connsiteX197" fmla="*/ 210747 w 300358"/>
              <a:gd name="connsiteY197" fmla="*/ 85217 h 300358"/>
              <a:gd name="connsiteX198" fmla="*/ 207112 w 300358"/>
              <a:gd name="connsiteY198" fmla="*/ 82035 h 300358"/>
              <a:gd name="connsiteX199" fmla="*/ 203274 w 300358"/>
              <a:gd name="connsiteY199" fmla="*/ 79053 h 300358"/>
              <a:gd name="connsiteX200" fmla="*/ 199235 w 300358"/>
              <a:gd name="connsiteY200" fmla="*/ 76071 h 300358"/>
              <a:gd name="connsiteX201" fmla="*/ 194994 w 300358"/>
              <a:gd name="connsiteY201" fmla="*/ 73287 h 300358"/>
              <a:gd name="connsiteX202" fmla="*/ 190753 w 300358"/>
              <a:gd name="connsiteY202" fmla="*/ 70902 h 300358"/>
              <a:gd name="connsiteX203" fmla="*/ 186310 w 300358"/>
              <a:gd name="connsiteY203" fmla="*/ 68715 h 300358"/>
              <a:gd name="connsiteX204" fmla="*/ 181664 w 300358"/>
              <a:gd name="connsiteY204" fmla="*/ 66727 h 300358"/>
              <a:gd name="connsiteX205" fmla="*/ 177019 w 300358"/>
              <a:gd name="connsiteY205" fmla="*/ 65136 h 300358"/>
              <a:gd name="connsiteX206" fmla="*/ 172172 w 300358"/>
              <a:gd name="connsiteY206" fmla="*/ 63744 h 300358"/>
              <a:gd name="connsiteX207" fmla="*/ 167123 w 300358"/>
              <a:gd name="connsiteY207" fmla="*/ 62353 h 300358"/>
              <a:gd name="connsiteX208" fmla="*/ 133912 w 300358"/>
              <a:gd name="connsiteY208" fmla="*/ 61557 h 300358"/>
              <a:gd name="connsiteX209" fmla="*/ 128661 w 300358"/>
              <a:gd name="connsiteY209" fmla="*/ 62353 h 300358"/>
              <a:gd name="connsiteX210" fmla="*/ 123409 w 300358"/>
              <a:gd name="connsiteY210" fmla="*/ 63545 h 300358"/>
              <a:gd name="connsiteX211" fmla="*/ 118562 w 300358"/>
              <a:gd name="connsiteY211" fmla="*/ 64937 h 300358"/>
              <a:gd name="connsiteX212" fmla="*/ 113715 w 300358"/>
              <a:gd name="connsiteY212" fmla="*/ 66727 h 300358"/>
              <a:gd name="connsiteX213" fmla="*/ 109069 w 300358"/>
              <a:gd name="connsiteY213" fmla="*/ 68715 h 300358"/>
              <a:gd name="connsiteX214" fmla="*/ 104424 w 300358"/>
              <a:gd name="connsiteY214" fmla="*/ 70703 h 300358"/>
              <a:gd name="connsiteX215" fmla="*/ 99981 w 300358"/>
              <a:gd name="connsiteY215" fmla="*/ 73287 h 300358"/>
              <a:gd name="connsiteX216" fmla="*/ 95739 w 300358"/>
              <a:gd name="connsiteY216" fmla="*/ 75872 h 300358"/>
              <a:gd name="connsiteX217" fmla="*/ 91700 w 300358"/>
              <a:gd name="connsiteY217" fmla="*/ 78854 h 300358"/>
              <a:gd name="connsiteX218" fmla="*/ 87862 w 300358"/>
              <a:gd name="connsiteY218" fmla="*/ 81837 h 300358"/>
              <a:gd name="connsiteX219" fmla="*/ 84227 w 300358"/>
              <a:gd name="connsiteY219" fmla="*/ 85217 h 300358"/>
              <a:gd name="connsiteX220" fmla="*/ 80793 w 300358"/>
              <a:gd name="connsiteY220" fmla="*/ 88398 h 300358"/>
              <a:gd name="connsiteX221" fmla="*/ 77562 w 300358"/>
              <a:gd name="connsiteY221" fmla="*/ 92175 h 300358"/>
              <a:gd name="connsiteX222" fmla="*/ 74330 w 300358"/>
              <a:gd name="connsiteY222" fmla="*/ 96152 h 300358"/>
              <a:gd name="connsiteX223" fmla="*/ 71503 w 300358"/>
              <a:gd name="connsiteY223" fmla="*/ 99929 h 300358"/>
              <a:gd name="connsiteX224" fmla="*/ 69079 w 300358"/>
              <a:gd name="connsiteY224" fmla="*/ 104104 h 300358"/>
              <a:gd name="connsiteX225" fmla="*/ 109877 w 300358"/>
              <a:gd name="connsiteY225" fmla="*/ 104104 h 300358"/>
              <a:gd name="connsiteX226" fmla="*/ 112099 w 300358"/>
              <a:gd name="connsiteY226" fmla="*/ 98537 h 300358"/>
              <a:gd name="connsiteX227" fmla="*/ 114321 w 300358"/>
              <a:gd name="connsiteY227" fmla="*/ 92970 h 300358"/>
              <a:gd name="connsiteX228" fmla="*/ 117148 w 300358"/>
              <a:gd name="connsiteY228" fmla="*/ 87602 h 300358"/>
              <a:gd name="connsiteX229" fmla="*/ 119774 w 300358"/>
              <a:gd name="connsiteY229" fmla="*/ 82234 h 300358"/>
              <a:gd name="connsiteX230" fmla="*/ 122804 w 300358"/>
              <a:gd name="connsiteY230" fmla="*/ 76866 h 300358"/>
              <a:gd name="connsiteX231" fmla="*/ 126439 w 300358"/>
              <a:gd name="connsiteY231" fmla="*/ 71498 h 300358"/>
              <a:gd name="connsiteX232" fmla="*/ 129873 w 300358"/>
              <a:gd name="connsiteY232" fmla="*/ 66528 h 300358"/>
              <a:gd name="connsiteX233" fmla="*/ 144106 w 300358"/>
              <a:gd name="connsiteY233" fmla="*/ 59531 h 300358"/>
              <a:gd name="connsiteX234" fmla="*/ 143084 w 300358"/>
              <a:gd name="connsiteY234" fmla="*/ 59734 h 300358"/>
              <a:gd name="connsiteX235" fmla="*/ 142266 w 300358"/>
              <a:gd name="connsiteY235" fmla="*/ 59734 h 300358"/>
              <a:gd name="connsiteX236" fmla="*/ 137971 w 300358"/>
              <a:gd name="connsiteY236" fmla="*/ 65204 h 300358"/>
              <a:gd name="connsiteX237" fmla="*/ 133880 w 300358"/>
              <a:gd name="connsiteY237" fmla="*/ 70472 h 300358"/>
              <a:gd name="connsiteX238" fmla="*/ 130199 w 300358"/>
              <a:gd name="connsiteY238" fmla="*/ 75942 h 300358"/>
              <a:gd name="connsiteX239" fmla="*/ 126518 w 300358"/>
              <a:gd name="connsiteY239" fmla="*/ 81413 h 300358"/>
              <a:gd name="connsiteX240" fmla="*/ 123450 w 300358"/>
              <a:gd name="connsiteY240" fmla="*/ 87085 h 300358"/>
              <a:gd name="connsiteX241" fmla="*/ 120382 w 300358"/>
              <a:gd name="connsiteY241" fmla="*/ 92556 h 300358"/>
              <a:gd name="connsiteX242" fmla="*/ 117928 w 300358"/>
              <a:gd name="connsiteY242" fmla="*/ 98431 h 300358"/>
              <a:gd name="connsiteX243" fmla="*/ 115678 w 300358"/>
              <a:gd name="connsiteY243" fmla="*/ 104104 h 300358"/>
              <a:gd name="connsiteX244" fmla="*/ 180511 w 300358"/>
              <a:gd name="connsiteY244" fmla="*/ 104104 h 300358"/>
              <a:gd name="connsiteX245" fmla="*/ 178261 w 300358"/>
              <a:gd name="connsiteY245" fmla="*/ 98431 h 300358"/>
              <a:gd name="connsiteX246" fmla="*/ 175807 w 300358"/>
              <a:gd name="connsiteY246" fmla="*/ 92556 h 300358"/>
              <a:gd name="connsiteX247" fmla="*/ 172944 w 300358"/>
              <a:gd name="connsiteY247" fmla="*/ 87085 h 300358"/>
              <a:gd name="connsiteX248" fmla="*/ 169671 w 300358"/>
              <a:gd name="connsiteY248" fmla="*/ 81413 h 300358"/>
              <a:gd name="connsiteX249" fmla="*/ 166195 w 300358"/>
              <a:gd name="connsiteY249" fmla="*/ 75942 h 300358"/>
              <a:gd name="connsiteX250" fmla="*/ 162309 w 300358"/>
              <a:gd name="connsiteY250" fmla="*/ 70472 h 300358"/>
              <a:gd name="connsiteX251" fmla="*/ 158218 w 300358"/>
              <a:gd name="connsiteY251" fmla="*/ 65204 h 300358"/>
              <a:gd name="connsiteX252" fmla="*/ 153923 w 300358"/>
              <a:gd name="connsiteY252" fmla="*/ 59734 h 300358"/>
              <a:gd name="connsiteX253" fmla="*/ 151060 w 300358"/>
              <a:gd name="connsiteY253" fmla="*/ 59531 h 300358"/>
              <a:gd name="connsiteX254" fmla="*/ 148197 w 300358"/>
              <a:gd name="connsiteY254" fmla="*/ 59531 h 300358"/>
              <a:gd name="connsiteX255" fmla="*/ 146152 w 300358"/>
              <a:gd name="connsiteY255" fmla="*/ 59531 h 300358"/>
              <a:gd name="connsiteX256" fmla="*/ 150179 w 300358"/>
              <a:gd name="connsiteY256" fmla="*/ 0 h 300358"/>
              <a:gd name="connsiteX257" fmla="*/ 300358 w 300358"/>
              <a:gd name="connsiteY257" fmla="*/ 150179 h 300358"/>
              <a:gd name="connsiteX258" fmla="*/ 150179 w 300358"/>
              <a:gd name="connsiteY258" fmla="*/ 300358 h 300358"/>
              <a:gd name="connsiteX259" fmla="*/ 0 w 300358"/>
              <a:gd name="connsiteY259" fmla="*/ 150179 h 300358"/>
              <a:gd name="connsiteX260" fmla="*/ 150179 w 300358"/>
              <a:gd name="connsiteY260" fmla="*/ 0 h 30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</a:cxnLst>
            <a:rect l="l" t="t" r="r" b="b"/>
            <a:pathLst>
              <a:path w="300358" h="300358">
                <a:moveTo>
                  <a:pt x="181322" y="204392"/>
                </a:moveTo>
                <a:lnTo>
                  <a:pt x="179296" y="209155"/>
                </a:lnTo>
                <a:lnTo>
                  <a:pt x="177270" y="213711"/>
                </a:lnTo>
                <a:lnTo>
                  <a:pt x="175041" y="218474"/>
                </a:lnTo>
                <a:lnTo>
                  <a:pt x="172610" y="223237"/>
                </a:lnTo>
                <a:lnTo>
                  <a:pt x="169773" y="227793"/>
                </a:lnTo>
                <a:lnTo>
                  <a:pt x="167140" y="232556"/>
                </a:lnTo>
                <a:lnTo>
                  <a:pt x="164303" y="237318"/>
                </a:lnTo>
                <a:lnTo>
                  <a:pt x="161264" y="241874"/>
                </a:lnTo>
                <a:lnTo>
                  <a:pt x="165924" y="241046"/>
                </a:lnTo>
                <a:lnTo>
                  <a:pt x="170381" y="240218"/>
                </a:lnTo>
                <a:lnTo>
                  <a:pt x="174838" y="238768"/>
                </a:lnTo>
                <a:lnTo>
                  <a:pt x="179296" y="237318"/>
                </a:lnTo>
                <a:lnTo>
                  <a:pt x="183550" y="235662"/>
                </a:lnTo>
                <a:lnTo>
                  <a:pt x="187805" y="233798"/>
                </a:lnTo>
                <a:lnTo>
                  <a:pt x="191655" y="231520"/>
                </a:lnTo>
                <a:lnTo>
                  <a:pt x="195504" y="229242"/>
                </a:lnTo>
                <a:lnTo>
                  <a:pt x="199353" y="226757"/>
                </a:lnTo>
                <a:lnTo>
                  <a:pt x="203203" y="223858"/>
                </a:lnTo>
                <a:lnTo>
                  <a:pt x="206647" y="221166"/>
                </a:lnTo>
                <a:lnTo>
                  <a:pt x="210091" y="218060"/>
                </a:lnTo>
                <a:lnTo>
                  <a:pt x="213130" y="214746"/>
                </a:lnTo>
                <a:lnTo>
                  <a:pt x="216170" y="211433"/>
                </a:lnTo>
                <a:lnTo>
                  <a:pt x="219209" y="207913"/>
                </a:lnTo>
                <a:lnTo>
                  <a:pt x="222045" y="204392"/>
                </a:lnTo>
                <a:close/>
                <a:moveTo>
                  <a:pt x="121756" y="204392"/>
                </a:moveTo>
                <a:lnTo>
                  <a:pt x="123767" y="209152"/>
                </a:lnTo>
                <a:lnTo>
                  <a:pt x="125978" y="213913"/>
                </a:lnTo>
                <a:lnTo>
                  <a:pt x="128391" y="218673"/>
                </a:lnTo>
                <a:lnTo>
                  <a:pt x="131005" y="223433"/>
                </a:lnTo>
                <a:lnTo>
                  <a:pt x="133819" y="228193"/>
                </a:lnTo>
                <a:lnTo>
                  <a:pt x="136835" y="233367"/>
                </a:lnTo>
                <a:lnTo>
                  <a:pt x="139851" y="238127"/>
                </a:lnTo>
                <a:lnTo>
                  <a:pt x="143068" y="242887"/>
                </a:lnTo>
                <a:lnTo>
                  <a:pt x="145280" y="242887"/>
                </a:lnTo>
                <a:lnTo>
                  <a:pt x="147893" y="242887"/>
                </a:lnTo>
                <a:lnTo>
                  <a:pt x="150507" y="242887"/>
                </a:lnTo>
                <a:lnTo>
                  <a:pt x="152920" y="242887"/>
                </a:lnTo>
                <a:lnTo>
                  <a:pt x="156137" y="238127"/>
                </a:lnTo>
                <a:lnTo>
                  <a:pt x="159354" y="232953"/>
                </a:lnTo>
                <a:lnTo>
                  <a:pt x="162169" y="228193"/>
                </a:lnTo>
                <a:lnTo>
                  <a:pt x="164983" y="223433"/>
                </a:lnTo>
                <a:lnTo>
                  <a:pt x="167798" y="218673"/>
                </a:lnTo>
                <a:lnTo>
                  <a:pt x="170211" y="213913"/>
                </a:lnTo>
                <a:lnTo>
                  <a:pt x="172422" y="209152"/>
                </a:lnTo>
                <a:lnTo>
                  <a:pt x="174433" y="204392"/>
                </a:lnTo>
                <a:close/>
                <a:moveTo>
                  <a:pt x="74145" y="204392"/>
                </a:moveTo>
                <a:lnTo>
                  <a:pt x="76991" y="207913"/>
                </a:lnTo>
                <a:lnTo>
                  <a:pt x="79837" y="211433"/>
                </a:lnTo>
                <a:lnTo>
                  <a:pt x="82886" y="214746"/>
                </a:lnTo>
                <a:lnTo>
                  <a:pt x="86139" y="218060"/>
                </a:lnTo>
                <a:lnTo>
                  <a:pt x="89594" y="221166"/>
                </a:lnTo>
                <a:lnTo>
                  <a:pt x="93050" y="224065"/>
                </a:lnTo>
                <a:lnTo>
                  <a:pt x="96912" y="226757"/>
                </a:lnTo>
                <a:lnTo>
                  <a:pt x="100572" y="229449"/>
                </a:lnTo>
                <a:lnTo>
                  <a:pt x="104434" y="231727"/>
                </a:lnTo>
                <a:lnTo>
                  <a:pt x="108500" y="233798"/>
                </a:lnTo>
                <a:lnTo>
                  <a:pt x="112768" y="235869"/>
                </a:lnTo>
                <a:lnTo>
                  <a:pt x="117037" y="237318"/>
                </a:lnTo>
                <a:lnTo>
                  <a:pt x="121306" y="238975"/>
                </a:lnTo>
                <a:lnTo>
                  <a:pt x="125778" y="240218"/>
                </a:lnTo>
                <a:lnTo>
                  <a:pt x="130251" y="241253"/>
                </a:lnTo>
                <a:lnTo>
                  <a:pt x="134926" y="241874"/>
                </a:lnTo>
                <a:lnTo>
                  <a:pt x="131674" y="237318"/>
                </a:lnTo>
                <a:lnTo>
                  <a:pt x="128828" y="232556"/>
                </a:lnTo>
                <a:lnTo>
                  <a:pt x="126185" y="227793"/>
                </a:lnTo>
                <a:lnTo>
                  <a:pt x="123542" y="223237"/>
                </a:lnTo>
                <a:lnTo>
                  <a:pt x="121103" y="218474"/>
                </a:lnTo>
                <a:lnTo>
                  <a:pt x="118867" y="213711"/>
                </a:lnTo>
                <a:lnTo>
                  <a:pt x="116834" y="209155"/>
                </a:lnTo>
                <a:lnTo>
                  <a:pt x="114801" y="204392"/>
                </a:lnTo>
                <a:close/>
                <a:moveTo>
                  <a:pt x="192700" y="157794"/>
                </a:moveTo>
                <a:lnTo>
                  <a:pt x="192294" y="163010"/>
                </a:lnTo>
                <a:lnTo>
                  <a:pt x="191480" y="167824"/>
                </a:lnTo>
                <a:lnTo>
                  <a:pt x="190667" y="172839"/>
                </a:lnTo>
                <a:lnTo>
                  <a:pt x="189447" y="178055"/>
                </a:lnTo>
                <a:lnTo>
                  <a:pt x="188430" y="183070"/>
                </a:lnTo>
                <a:lnTo>
                  <a:pt x="186804" y="188085"/>
                </a:lnTo>
                <a:lnTo>
                  <a:pt x="185380" y="193300"/>
                </a:lnTo>
                <a:lnTo>
                  <a:pt x="183550" y="198315"/>
                </a:lnTo>
                <a:lnTo>
                  <a:pt x="226049" y="198315"/>
                </a:lnTo>
                <a:lnTo>
                  <a:pt x="228692" y="193902"/>
                </a:lnTo>
                <a:lnTo>
                  <a:pt x="230929" y="189088"/>
                </a:lnTo>
                <a:lnTo>
                  <a:pt x="233166" y="184073"/>
                </a:lnTo>
                <a:lnTo>
                  <a:pt x="234996" y="179058"/>
                </a:lnTo>
                <a:lnTo>
                  <a:pt x="236623" y="174043"/>
                </a:lnTo>
                <a:lnTo>
                  <a:pt x="237639" y="168627"/>
                </a:lnTo>
                <a:lnTo>
                  <a:pt x="238656" y="163411"/>
                </a:lnTo>
                <a:lnTo>
                  <a:pt x="239266" y="157794"/>
                </a:lnTo>
                <a:close/>
                <a:moveTo>
                  <a:pt x="108587" y="157794"/>
                </a:moveTo>
                <a:lnTo>
                  <a:pt x="109195" y="163010"/>
                </a:lnTo>
                <a:lnTo>
                  <a:pt x="110005" y="167824"/>
                </a:lnTo>
                <a:lnTo>
                  <a:pt x="110816" y="172839"/>
                </a:lnTo>
                <a:lnTo>
                  <a:pt x="111829" y="178055"/>
                </a:lnTo>
                <a:lnTo>
                  <a:pt x="113247" y="183070"/>
                </a:lnTo>
                <a:lnTo>
                  <a:pt x="114868" y="188085"/>
                </a:lnTo>
                <a:lnTo>
                  <a:pt x="116691" y="193300"/>
                </a:lnTo>
                <a:lnTo>
                  <a:pt x="118312" y="198315"/>
                </a:lnTo>
                <a:lnTo>
                  <a:pt x="176864" y="198315"/>
                </a:lnTo>
                <a:lnTo>
                  <a:pt x="178688" y="193300"/>
                </a:lnTo>
                <a:lnTo>
                  <a:pt x="180511" y="188085"/>
                </a:lnTo>
                <a:lnTo>
                  <a:pt x="181929" y="183070"/>
                </a:lnTo>
                <a:lnTo>
                  <a:pt x="183347" y="178055"/>
                </a:lnTo>
                <a:lnTo>
                  <a:pt x="184360" y="172839"/>
                </a:lnTo>
                <a:lnTo>
                  <a:pt x="185373" y="167824"/>
                </a:lnTo>
                <a:lnTo>
                  <a:pt x="186184" y="163010"/>
                </a:lnTo>
                <a:lnTo>
                  <a:pt x="186589" y="157794"/>
                </a:lnTo>
                <a:close/>
                <a:moveTo>
                  <a:pt x="56923" y="157794"/>
                </a:moveTo>
                <a:lnTo>
                  <a:pt x="57733" y="163411"/>
                </a:lnTo>
                <a:lnTo>
                  <a:pt x="58746" y="168627"/>
                </a:lnTo>
                <a:lnTo>
                  <a:pt x="59962" y="174043"/>
                </a:lnTo>
                <a:lnTo>
                  <a:pt x="61380" y="179058"/>
                </a:lnTo>
                <a:lnTo>
                  <a:pt x="63406" y="184073"/>
                </a:lnTo>
                <a:lnTo>
                  <a:pt x="65432" y="189088"/>
                </a:lnTo>
                <a:lnTo>
                  <a:pt x="67864" y="193902"/>
                </a:lnTo>
                <a:lnTo>
                  <a:pt x="70700" y="198315"/>
                </a:lnTo>
                <a:lnTo>
                  <a:pt x="112639" y="198315"/>
                </a:lnTo>
                <a:lnTo>
                  <a:pt x="110816" y="193300"/>
                </a:lnTo>
                <a:lnTo>
                  <a:pt x="109195" y="188085"/>
                </a:lnTo>
                <a:lnTo>
                  <a:pt x="107574" y="183070"/>
                </a:lnTo>
                <a:lnTo>
                  <a:pt x="106561" y="178055"/>
                </a:lnTo>
                <a:lnTo>
                  <a:pt x="105345" y="172839"/>
                </a:lnTo>
                <a:lnTo>
                  <a:pt x="104535" y="168025"/>
                </a:lnTo>
                <a:lnTo>
                  <a:pt x="103927" y="163010"/>
                </a:lnTo>
                <a:lnTo>
                  <a:pt x="103319" y="157794"/>
                </a:lnTo>
                <a:close/>
                <a:moveTo>
                  <a:pt x="188615" y="110182"/>
                </a:moveTo>
                <a:lnTo>
                  <a:pt x="189821" y="115093"/>
                </a:lnTo>
                <a:lnTo>
                  <a:pt x="191027" y="120412"/>
                </a:lnTo>
                <a:lnTo>
                  <a:pt x="191831" y="125527"/>
                </a:lnTo>
                <a:lnTo>
                  <a:pt x="192635" y="130642"/>
                </a:lnTo>
                <a:lnTo>
                  <a:pt x="193238" y="135962"/>
                </a:lnTo>
                <a:lnTo>
                  <a:pt x="193439" y="141077"/>
                </a:lnTo>
                <a:lnTo>
                  <a:pt x="193439" y="146192"/>
                </a:lnTo>
                <a:lnTo>
                  <a:pt x="193439" y="151716"/>
                </a:lnTo>
                <a:lnTo>
                  <a:pt x="239266" y="151716"/>
                </a:lnTo>
                <a:lnTo>
                  <a:pt x="239266" y="151102"/>
                </a:lnTo>
                <a:lnTo>
                  <a:pt x="239266" y="150898"/>
                </a:lnTo>
                <a:lnTo>
                  <a:pt x="239065" y="145578"/>
                </a:lnTo>
                <a:lnTo>
                  <a:pt x="238663" y="140259"/>
                </a:lnTo>
                <a:lnTo>
                  <a:pt x="237859" y="134734"/>
                </a:lnTo>
                <a:lnTo>
                  <a:pt x="236854" y="129619"/>
                </a:lnTo>
                <a:lnTo>
                  <a:pt x="235447" y="124709"/>
                </a:lnTo>
                <a:lnTo>
                  <a:pt x="234040" y="119594"/>
                </a:lnTo>
                <a:lnTo>
                  <a:pt x="232030" y="114888"/>
                </a:lnTo>
                <a:lnTo>
                  <a:pt x="229819" y="110182"/>
                </a:lnTo>
                <a:close/>
                <a:moveTo>
                  <a:pt x="113855" y="110182"/>
                </a:moveTo>
                <a:lnTo>
                  <a:pt x="112234" y="115093"/>
                </a:lnTo>
                <a:lnTo>
                  <a:pt x="111221" y="120412"/>
                </a:lnTo>
                <a:lnTo>
                  <a:pt x="110410" y="125527"/>
                </a:lnTo>
                <a:lnTo>
                  <a:pt x="109397" y="130642"/>
                </a:lnTo>
                <a:lnTo>
                  <a:pt x="108992" y="135962"/>
                </a:lnTo>
                <a:lnTo>
                  <a:pt x="108587" y="141077"/>
                </a:lnTo>
                <a:lnTo>
                  <a:pt x="108587" y="146192"/>
                </a:lnTo>
                <a:lnTo>
                  <a:pt x="108587" y="151716"/>
                </a:lnTo>
                <a:lnTo>
                  <a:pt x="187602" y="151716"/>
                </a:lnTo>
                <a:lnTo>
                  <a:pt x="187602" y="146192"/>
                </a:lnTo>
                <a:lnTo>
                  <a:pt x="187602" y="141077"/>
                </a:lnTo>
                <a:lnTo>
                  <a:pt x="186994" y="135962"/>
                </a:lnTo>
                <a:lnTo>
                  <a:pt x="186589" y="130642"/>
                </a:lnTo>
                <a:lnTo>
                  <a:pt x="185779" y="125527"/>
                </a:lnTo>
                <a:lnTo>
                  <a:pt x="184766" y="120412"/>
                </a:lnTo>
                <a:lnTo>
                  <a:pt x="183753" y="115093"/>
                </a:lnTo>
                <a:lnTo>
                  <a:pt x="182132" y="110182"/>
                </a:lnTo>
                <a:close/>
                <a:moveTo>
                  <a:pt x="65365" y="110182"/>
                </a:moveTo>
                <a:lnTo>
                  <a:pt x="63556" y="114683"/>
                </a:lnTo>
                <a:lnTo>
                  <a:pt x="61948" y="119185"/>
                </a:lnTo>
                <a:lnTo>
                  <a:pt x="60340" y="123891"/>
                </a:lnTo>
                <a:lnTo>
                  <a:pt x="59134" y="128801"/>
                </a:lnTo>
                <a:lnTo>
                  <a:pt x="58129" y="133916"/>
                </a:lnTo>
                <a:lnTo>
                  <a:pt x="57526" y="138826"/>
                </a:lnTo>
                <a:lnTo>
                  <a:pt x="56923" y="143941"/>
                </a:lnTo>
                <a:lnTo>
                  <a:pt x="56923" y="149466"/>
                </a:lnTo>
                <a:lnTo>
                  <a:pt x="56923" y="150489"/>
                </a:lnTo>
                <a:lnTo>
                  <a:pt x="56923" y="151716"/>
                </a:lnTo>
                <a:lnTo>
                  <a:pt x="102750" y="151716"/>
                </a:lnTo>
                <a:lnTo>
                  <a:pt x="102750" y="146192"/>
                </a:lnTo>
                <a:lnTo>
                  <a:pt x="102750" y="141077"/>
                </a:lnTo>
                <a:lnTo>
                  <a:pt x="102951" y="135962"/>
                </a:lnTo>
                <a:lnTo>
                  <a:pt x="103755" y="130642"/>
                </a:lnTo>
                <a:lnTo>
                  <a:pt x="104358" y="125527"/>
                </a:lnTo>
                <a:lnTo>
                  <a:pt x="105162" y="120412"/>
                </a:lnTo>
                <a:lnTo>
                  <a:pt x="106368" y="115093"/>
                </a:lnTo>
                <a:lnTo>
                  <a:pt x="107574" y="110182"/>
                </a:lnTo>
                <a:close/>
                <a:moveTo>
                  <a:pt x="162276" y="61557"/>
                </a:moveTo>
                <a:lnTo>
                  <a:pt x="166113" y="66528"/>
                </a:lnTo>
                <a:lnTo>
                  <a:pt x="169951" y="71697"/>
                </a:lnTo>
                <a:lnTo>
                  <a:pt x="173182" y="77065"/>
                </a:lnTo>
                <a:lnTo>
                  <a:pt x="176413" y="82234"/>
                </a:lnTo>
                <a:lnTo>
                  <a:pt x="179241" y="87602"/>
                </a:lnTo>
                <a:lnTo>
                  <a:pt x="181664" y="92970"/>
                </a:lnTo>
                <a:lnTo>
                  <a:pt x="184088" y="98537"/>
                </a:lnTo>
                <a:lnTo>
                  <a:pt x="186108" y="104104"/>
                </a:lnTo>
                <a:lnTo>
                  <a:pt x="226096" y="104104"/>
                </a:lnTo>
                <a:lnTo>
                  <a:pt x="223471" y="99929"/>
                </a:lnTo>
                <a:lnTo>
                  <a:pt x="220643" y="96152"/>
                </a:lnTo>
                <a:lnTo>
                  <a:pt x="217412" y="92374"/>
                </a:lnTo>
                <a:lnTo>
                  <a:pt x="214180" y="88596"/>
                </a:lnTo>
                <a:lnTo>
                  <a:pt x="210747" y="85217"/>
                </a:lnTo>
                <a:lnTo>
                  <a:pt x="207112" y="82035"/>
                </a:lnTo>
                <a:lnTo>
                  <a:pt x="203274" y="79053"/>
                </a:lnTo>
                <a:lnTo>
                  <a:pt x="199235" y="76071"/>
                </a:lnTo>
                <a:lnTo>
                  <a:pt x="194994" y="73287"/>
                </a:lnTo>
                <a:lnTo>
                  <a:pt x="190753" y="70902"/>
                </a:lnTo>
                <a:lnTo>
                  <a:pt x="186310" y="68715"/>
                </a:lnTo>
                <a:lnTo>
                  <a:pt x="181664" y="66727"/>
                </a:lnTo>
                <a:lnTo>
                  <a:pt x="177019" y="65136"/>
                </a:lnTo>
                <a:lnTo>
                  <a:pt x="172172" y="63744"/>
                </a:lnTo>
                <a:lnTo>
                  <a:pt x="167123" y="62353"/>
                </a:lnTo>
                <a:close/>
                <a:moveTo>
                  <a:pt x="133912" y="61557"/>
                </a:moveTo>
                <a:lnTo>
                  <a:pt x="128661" y="62353"/>
                </a:lnTo>
                <a:lnTo>
                  <a:pt x="123409" y="63545"/>
                </a:lnTo>
                <a:lnTo>
                  <a:pt x="118562" y="64937"/>
                </a:lnTo>
                <a:lnTo>
                  <a:pt x="113715" y="66727"/>
                </a:lnTo>
                <a:lnTo>
                  <a:pt x="109069" y="68715"/>
                </a:lnTo>
                <a:lnTo>
                  <a:pt x="104424" y="70703"/>
                </a:lnTo>
                <a:lnTo>
                  <a:pt x="99981" y="73287"/>
                </a:lnTo>
                <a:lnTo>
                  <a:pt x="95739" y="75872"/>
                </a:lnTo>
                <a:lnTo>
                  <a:pt x="91700" y="78854"/>
                </a:lnTo>
                <a:lnTo>
                  <a:pt x="87862" y="81837"/>
                </a:lnTo>
                <a:lnTo>
                  <a:pt x="84227" y="85217"/>
                </a:lnTo>
                <a:lnTo>
                  <a:pt x="80793" y="88398"/>
                </a:lnTo>
                <a:lnTo>
                  <a:pt x="77562" y="92175"/>
                </a:lnTo>
                <a:lnTo>
                  <a:pt x="74330" y="96152"/>
                </a:lnTo>
                <a:lnTo>
                  <a:pt x="71503" y="99929"/>
                </a:lnTo>
                <a:lnTo>
                  <a:pt x="69079" y="104104"/>
                </a:lnTo>
                <a:lnTo>
                  <a:pt x="109877" y="104104"/>
                </a:lnTo>
                <a:lnTo>
                  <a:pt x="112099" y="98537"/>
                </a:lnTo>
                <a:lnTo>
                  <a:pt x="114321" y="92970"/>
                </a:lnTo>
                <a:lnTo>
                  <a:pt x="117148" y="87602"/>
                </a:lnTo>
                <a:lnTo>
                  <a:pt x="119774" y="82234"/>
                </a:lnTo>
                <a:lnTo>
                  <a:pt x="122804" y="76866"/>
                </a:lnTo>
                <a:lnTo>
                  <a:pt x="126439" y="71498"/>
                </a:lnTo>
                <a:lnTo>
                  <a:pt x="129873" y="66528"/>
                </a:lnTo>
                <a:close/>
                <a:moveTo>
                  <a:pt x="144106" y="59531"/>
                </a:moveTo>
                <a:lnTo>
                  <a:pt x="143084" y="59734"/>
                </a:lnTo>
                <a:lnTo>
                  <a:pt x="142266" y="59734"/>
                </a:lnTo>
                <a:lnTo>
                  <a:pt x="137971" y="65204"/>
                </a:lnTo>
                <a:lnTo>
                  <a:pt x="133880" y="70472"/>
                </a:lnTo>
                <a:lnTo>
                  <a:pt x="130199" y="75942"/>
                </a:lnTo>
                <a:lnTo>
                  <a:pt x="126518" y="81413"/>
                </a:lnTo>
                <a:lnTo>
                  <a:pt x="123450" y="87085"/>
                </a:lnTo>
                <a:lnTo>
                  <a:pt x="120382" y="92556"/>
                </a:lnTo>
                <a:lnTo>
                  <a:pt x="117928" y="98431"/>
                </a:lnTo>
                <a:lnTo>
                  <a:pt x="115678" y="104104"/>
                </a:lnTo>
                <a:lnTo>
                  <a:pt x="180511" y="104104"/>
                </a:lnTo>
                <a:lnTo>
                  <a:pt x="178261" y="98431"/>
                </a:lnTo>
                <a:lnTo>
                  <a:pt x="175807" y="92556"/>
                </a:lnTo>
                <a:lnTo>
                  <a:pt x="172944" y="87085"/>
                </a:lnTo>
                <a:lnTo>
                  <a:pt x="169671" y="81413"/>
                </a:lnTo>
                <a:lnTo>
                  <a:pt x="166195" y="75942"/>
                </a:lnTo>
                <a:lnTo>
                  <a:pt x="162309" y="70472"/>
                </a:lnTo>
                <a:lnTo>
                  <a:pt x="158218" y="65204"/>
                </a:lnTo>
                <a:lnTo>
                  <a:pt x="153923" y="59734"/>
                </a:lnTo>
                <a:lnTo>
                  <a:pt x="151060" y="59531"/>
                </a:lnTo>
                <a:lnTo>
                  <a:pt x="148197" y="59531"/>
                </a:lnTo>
                <a:lnTo>
                  <a:pt x="146152" y="59531"/>
                </a:lnTo>
                <a:close/>
                <a:moveTo>
                  <a:pt x="150179" y="0"/>
                </a:moveTo>
                <a:cubicBezTo>
                  <a:pt x="233121" y="0"/>
                  <a:pt x="300358" y="67237"/>
                  <a:pt x="300358" y="150179"/>
                </a:cubicBezTo>
                <a:cubicBezTo>
                  <a:pt x="300358" y="233121"/>
                  <a:pt x="233121" y="300358"/>
                  <a:pt x="150179" y="300358"/>
                </a:cubicBezTo>
                <a:cubicBezTo>
                  <a:pt x="67237" y="300358"/>
                  <a:pt x="0" y="233121"/>
                  <a:pt x="0" y="150179"/>
                </a:cubicBezTo>
                <a:cubicBezTo>
                  <a:pt x="0" y="67237"/>
                  <a:pt x="67237" y="0"/>
                  <a:pt x="150179" y="0"/>
                </a:cubicBez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1" dirty="0"/>
          </a:p>
        </p:txBody>
      </p:sp>
      <p:sp>
        <p:nvSpPr>
          <p:cNvPr id="30" name="Freeform 38">
            <a:extLst>
              <a:ext uri="{FF2B5EF4-FFF2-40B4-BE49-F238E27FC236}">
                <a16:creationId xmlns:a16="http://schemas.microsoft.com/office/drawing/2014/main" id="{91893684-BC90-4E79-BD05-499AD1B1F71E}"/>
              </a:ext>
            </a:extLst>
          </p:cNvPr>
          <p:cNvSpPr/>
          <p:nvPr/>
        </p:nvSpPr>
        <p:spPr>
          <a:xfrm>
            <a:off x="3339858" y="5688831"/>
            <a:ext cx="229289" cy="229289"/>
          </a:xfrm>
          <a:custGeom>
            <a:avLst/>
            <a:gdLst>
              <a:gd name="connsiteX0" fmla="*/ 240691 w 305718"/>
              <a:gd name="connsiteY0" fmla="*/ 107606 h 305718"/>
              <a:gd name="connsiteX1" fmla="*/ 158408 w 305718"/>
              <a:gd name="connsiteY1" fmla="*/ 162876 h 305718"/>
              <a:gd name="connsiteX2" fmla="*/ 157596 w 305718"/>
              <a:gd name="connsiteY2" fmla="*/ 163553 h 305718"/>
              <a:gd name="connsiteX3" fmla="*/ 156513 w 305718"/>
              <a:gd name="connsiteY3" fmla="*/ 163553 h 305718"/>
              <a:gd name="connsiteX4" fmla="*/ 155430 w 305718"/>
              <a:gd name="connsiteY4" fmla="*/ 163553 h 305718"/>
              <a:gd name="connsiteX5" fmla="*/ 154348 w 305718"/>
              <a:gd name="connsiteY5" fmla="*/ 163327 h 305718"/>
              <a:gd name="connsiteX6" fmla="*/ 64756 w 305718"/>
              <a:gd name="connsiteY6" fmla="*/ 108960 h 305718"/>
              <a:gd name="connsiteX7" fmla="*/ 63674 w 305718"/>
              <a:gd name="connsiteY7" fmla="*/ 110765 h 305718"/>
              <a:gd name="connsiteX8" fmla="*/ 62591 w 305718"/>
              <a:gd name="connsiteY8" fmla="*/ 112795 h 305718"/>
              <a:gd name="connsiteX9" fmla="*/ 62320 w 305718"/>
              <a:gd name="connsiteY9" fmla="*/ 115051 h 305718"/>
              <a:gd name="connsiteX10" fmla="*/ 61779 w 305718"/>
              <a:gd name="connsiteY10" fmla="*/ 117532 h 305718"/>
              <a:gd name="connsiteX11" fmla="*/ 61779 w 305718"/>
              <a:gd name="connsiteY11" fmla="*/ 188143 h 305718"/>
              <a:gd name="connsiteX12" fmla="*/ 62320 w 305718"/>
              <a:gd name="connsiteY12" fmla="*/ 189947 h 305718"/>
              <a:gd name="connsiteX13" fmla="*/ 62320 w 305718"/>
              <a:gd name="connsiteY13" fmla="*/ 191301 h 305718"/>
              <a:gd name="connsiteX14" fmla="*/ 62862 w 305718"/>
              <a:gd name="connsiteY14" fmla="*/ 193106 h 305718"/>
              <a:gd name="connsiteX15" fmla="*/ 63403 w 305718"/>
              <a:gd name="connsiteY15" fmla="*/ 194459 h 305718"/>
              <a:gd name="connsiteX16" fmla="*/ 64215 w 305718"/>
              <a:gd name="connsiteY16" fmla="*/ 196038 h 305718"/>
              <a:gd name="connsiteX17" fmla="*/ 65027 w 305718"/>
              <a:gd name="connsiteY17" fmla="*/ 197392 h 305718"/>
              <a:gd name="connsiteX18" fmla="*/ 66110 w 305718"/>
              <a:gd name="connsiteY18" fmla="*/ 198520 h 305718"/>
              <a:gd name="connsiteX19" fmla="*/ 67463 w 305718"/>
              <a:gd name="connsiteY19" fmla="*/ 199648 h 305718"/>
              <a:gd name="connsiteX20" fmla="*/ 68817 w 305718"/>
              <a:gd name="connsiteY20" fmla="*/ 200550 h 305718"/>
              <a:gd name="connsiteX21" fmla="*/ 70170 w 305718"/>
              <a:gd name="connsiteY21" fmla="*/ 201678 h 305718"/>
              <a:gd name="connsiteX22" fmla="*/ 71523 w 305718"/>
              <a:gd name="connsiteY22" fmla="*/ 202355 h 305718"/>
              <a:gd name="connsiteX23" fmla="*/ 73418 w 305718"/>
              <a:gd name="connsiteY23" fmla="*/ 203257 h 305718"/>
              <a:gd name="connsiteX24" fmla="*/ 75042 w 305718"/>
              <a:gd name="connsiteY24" fmla="*/ 203483 h 305718"/>
              <a:gd name="connsiteX25" fmla="*/ 77207 w 305718"/>
              <a:gd name="connsiteY25" fmla="*/ 204160 h 305718"/>
              <a:gd name="connsiteX26" fmla="*/ 78831 w 305718"/>
              <a:gd name="connsiteY26" fmla="*/ 204385 h 305718"/>
              <a:gd name="connsiteX27" fmla="*/ 80997 w 305718"/>
              <a:gd name="connsiteY27" fmla="*/ 204385 h 305718"/>
              <a:gd name="connsiteX28" fmla="*/ 224451 w 305718"/>
              <a:gd name="connsiteY28" fmla="*/ 204385 h 305718"/>
              <a:gd name="connsiteX29" fmla="*/ 226616 w 305718"/>
              <a:gd name="connsiteY29" fmla="*/ 204385 h 305718"/>
              <a:gd name="connsiteX30" fmla="*/ 228511 w 305718"/>
              <a:gd name="connsiteY30" fmla="*/ 204160 h 305718"/>
              <a:gd name="connsiteX31" fmla="*/ 230406 w 305718"/>
              <a:gd name="connsiteY31" fmla="*/ 203483 h 305718"/>
              <a:gd name="connsiteX32" fmla="*/ 232300 w 305718"/>
              <a:gd name="connsiteY32" fmla="*/ 203032 h 305718"/>
              <a:gd name="connsiteX33" fmla="*/ 233924 w 305718"/>
              <a:gd name="connsiteY33" fmla="*/ 202355 h 305718"/>
              <a:gd name="connsiteX34" fmla="*/ 235819 w 305718"/>
              <a:gd name="connsiteY34" fmla="*/ 201453 h 305718"/>
              <a:gd name="connsiteX35" fmla="*/ 237172 w 305718"/>
              <a:gd name="connsiteY35" fmla="*/ 200550 h 305718"/>
              <a:gd name="connsiteX36" fmla="*/ 238526 w 305718"/>
              <a:gd name="connsiteY36" fmla="*/ 199422 h 305718"/>
              <a:gd name="connsiteX37" fmla="*/ 239608 w 305718"/>
              <a:gd name="connsiteY37" fmla="*/ 198294 h 305718"/>
              <a:gd name="connsiteX38" fmla="*/ 240962 w 305718"/>
              <a:gd name="connsiteY38" fmla="*/ 197166 h 305718"/>
              <a:gd name="connsiteX39" fmla="*/ 242044 w 305718"/>
              <a:gd name="connsiteY39" fmla="*/ 195587 h 305718"/>
              <a:gd name="connsiteX40" fmla="*/ 242586 w 305718"/>
              <a:gd name="connsiteY40" fmla="*/ 194459 h 305718"/>
              <a:gd name="connsiteX41" fmla="*/ 243398 w 305718"/>
              <a:gd name="connsiteY41" fmla="*/ 192880 h 305718"/>
              <a:gd name="connsiteX42" fmla="*/ 243668 w 305718"/>
              <a:gd name="connsiteY42" fmla="*/ 191301 h 305718"/>
              <a:gd name="connsiteX43" fmla="*/ 243939 w 305718"/>
              <a:gd name="connsiteY43" fmla="*/ 189722 h 305718"/>
              <a:gd name="connsiteX44" fmla="*/ 243939 w 305718"/>
              <a:gd name="connsiteY44" fmla="*/ 188143 h 305718"/>
              <a:gd name="connsiteX45" fmla="*/ 243939 w 305718"/>
              <a:gd name="connsiteY45" fmla="*/ 117532 h 305718"/>
              <a:gd name="connsiteX46" fmla="*/ 243939 w 305718"/>
              <a:gd name="connsiteY46" fmla="*/ 114825 h 305718"/>
              <a:gd name="connsiteX47" fmla="*/ 243398 w 305718"/>
              <a:gd name="connsiteY47" fmla="*/ 112344 h 305718"/>
              <a:gd name="connsiteX48" fmla="*/ 242044 w 305718"/>
              <a:gd name="connsiteY48" fmla="*/ 109862 h 305718"/>
              <a:gd name="connsiteX49" fmla="*/ 81818 w 305718"/>
              <a:gd name="connsiteY49" fmla="*/ 101333 h 305718"/>
              <a:gd name="connsiteX50" fmla="*/ 78571 w 305718"/>
              <a:gd name="connsiteY50" fmla="*/ 101556 h 305718"/>
              <a:gd name="connsiteX51" fmla="*/ 75052 w 305718"/>
              <a:gd name="connsiteY51" fmla="*/ 102226 h 305718"/>
              <a:gd name="connsiteX52" fmla="*/ 72075 w 305718"/>
              <a:gd name="connsiteY52" fmla="*/ 103341 h 305718"/>
              <a:gd name="connsiteX53" fmla="*/ 69369 w 305718"/>
              <a:gd name="connsiteY53" fmla="*/ 104680 h 305718"/>
              <a:gd name="connsiteX54" fmla="*/ 156513 w 305718"/>
              <a:gd name="connsiteY54" fmla="*/ 156891 h 305718"/>
              <a:gd name="connsiteX55" fmla="*/ 236349 w 305718"/>
              <a:gd name="connsiteY55" fmla="*/ 103788 h 305718"/>
              <a:gd name="connsiteX56" fmla="*/ 233913 w 305718"/>
              <a:gd name="connsiteY56" fmla="*/ 102672 h 305718"/>
              <a:gd name="connsiteX57" fmla="*/ 231478 w 305718"/>
              <a:gd name="connsiteY57" fmla="*/ 102226 h 305718"/>
              <a:gd name="connsiteX58" fmla="*/ 228230 w 305718"/>
              <a:gd name="connsiteY58" fmla="*/ 101556 h 305718"/>
              <a:gd name="connsiteX59" fmla="*/ 224983 w 305718"/>
              <a:gd name="connsiteY59" fmla="*/ 101333 h 305718"/>
              <a:gd name="connsiteX60" fmla="*/ 152859 w 305718"/>
              <a:gd name="connsiteY60" fmla="*/ 0 h 305718"/>
              <a:gd name="connsiteX61" fmla="*/ 305718 w 305718"/>
              <a:gd name="connsiteY61" fmla="*/ 152859 h 305718"/>
              <a:gd name="connsiteX62" fmla="*/ 152859 w 305718"/>
              <a:gd name="connsiteY62" fmla="*/ 305718 h 305718"/>
              <a:gd name="connsiteX63" fmla="*/ 0 w 305718"/>
              <a:gd name="connsiteY63" fmla="*/ 152859 h 305718"/>
              <a:gd name="connsiteX64" fmla="*/ 152859 w 305718"/>
              <a:gd name="connsiteY64" fmla="*/ 0 h 305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305718" h="305718">
                <a:moveTo>
                  <a:pt x="240691" y="107606"/>
                </a:moveTo>
                <a:lnTo>
                  <a:pt x="158408" y="162876"/>
                </a:lnTo>
                <a:lnTo>
                  <a:pt x="157596" y="163553"/>
                </a:lnTo>
                <a:lnTo>
                  <a:pt x="156513" y="163553"/>
                </a:lnTo>
                <a:lnTo>
                  <a:pt x="155430" y="163553"/>
                </a:lnTo>
                <a:lnTo>
                  <a:pt x="154348" y="163327"/>
                </a:lnTo>
                <a:lnTo>
                  <a:pt x="64756" y="108960"/>
                </a:lnTo>
                <a:lnTo>
                  <a:pt x="63674" y="110765"/>
                </a:lnTo>
                <a:lnTo>
                  <a:pt x="62591" y="112795"/>
                </a:lnTo>
                <a:lnTo>
                  <a:pt x="62320" y="115051"/>
                </a:lnTo>
                <a:lnTo>
                  <a:pt x="61779" y="117532"/>
                </a:lnTo>
                <a:lnTo>
                  <a:pt x="61779" y="188143"/>
                </a:lnTo>
                <a:lnTo>
                  <a:pt x="62320" y="189947"/>
                </a:lnTo>
                <a:lnTo>
                  <a:pt x="62320" y="191301"/>
                </a:lnTo>
                <a:lnTo>
                  <a:pt x="62862" y="193106"/>
                </a:lnTo>
                <a:lnTo>
                  <a:pt x="63403" y="194459"/>
                </a:lnTo>
                <a:lnTo>
                  <a:pt x="64215" y="196038"/>
                </a:lnTo>
                <a:lnTo>
                  <a:pt x="65027" y="197392"/>
                </a:lnTo>
                <a:lnTo>
                  <a:pt x="66110" y="198520"/>
                </a:lnTo>
                <a:lnTo>
                  <a:pt x="67463" y="199648"/>
                </a:lnTo>
                <a:lnTo>
                  <a:pt x="68817" y="200550"/>
                </a:lnTo>
                <a:lnTo>
                  <a:pt x="70170" y="201678"/>
                </a:lnTo>
                <a:lnTo>
                  <a:pt x="71523" y="202355"/>
                </a:lnTo>
                <a:lnTo>
                  <a:pt x="73418" y="203257"/>
                </a:lnTo>
                <a:lnTo>
                  <a:pt x="75042" y="203483"/>
                </a:lnTo>
                <a:lnTo>
                  <a:pt x="77207" y="204160"/>
                </a:lnTo>
                <a:lnTo>
                  <a:pt x="78831" y="204385"/>
                </a:lnTo>
                <a:lnTo>
                  <a:pt x="80997" y="204385"/>
                </a:lnTo>
                <a:lnTo>
                  <a:pt x="224451" y="204385"/>
                </a:lnTo>
                <a:lnTo>
                  <a:pt x="226616" y="204385"/>
                </a:lnTo>
                <a:lnTo>
                  <a:pt x="228511" y="204160"/>
                </a:lnTo>
                <a:lnTo>
                  <a:pt x="230406" y="203483"/>
                </a:lnTo>
                <a:lnTo>
                  <a:pt x="232300" y="203032"/>
                </a:lnTo>
                <a:lnTo>
                  <a:pt x="233924" y="202355"/>
                </a:lnTo>
                <a:lnTo>
                  <a:pt x="235819" y="201453"/>
                </a:lnTo>
                <a:lnTo>
                  <a:pt x="237172" y="200550"/>
                </a:lnTo>
                <a:lnTo>
                  <a:pt x="238526" y="199422"/>
                </a:lnTo>
                <a:lnTo>
                  <a:pt x="239608" y="198294"/>
                </a:lnTo>
                <a:lnTo>
                  <a:pt x="240962" y="197166"/>
                </a:lnTo>
                <a:lnTo>
                  <a:pt x="242044" y="195587"/>
                </a:lnTo>
                <a:lnTo>
                  <a:pt x="242586" y="194459"/>
                </a:lnTo>
                <a:lnTo>
                  <a:pt x="243398" y="192880"/>
                </a:lnTo>
                <a:lnTo>
                  <a:pt x="243668" y="191301"/>
                </a:lnTo>
                <a:lnTo>
                  <a:pt x="243939" y="189722"/>
                </a:lnTo>
                <a:lnTo>
                  <a:pt x="243939" y="188143"/>
                </a:lnTo>
                <a:lnTo>
                  <a:pt x="243939" y="117532"/>
                </a:lnTo>
                <a:lnTo>
                  <a:pt x="243939" y="114825"/>
                </a:lnTo>
                <a:lnTo>
                  <a:pt x="243398" y="112344"/>
                </a:lnTo>
                <a:lnTo>
                  <a:pt x="242044" y="109862"/>
                </a:lnTo>
                <a:close/>
                <a:moveTo>
                  <a:pt x="81818" y="101333"/>
                </a:moveTo>
                <a:lnTo>
                  <a:pt x="78571" y="101556"/>
                </a:lnTo>
                <a:lnTo>
                  <a:pt x="75052" y="102226"/>
                </a:lnTo>
                <a:lnTo>
                  <a:pt x="72075" y="103341"/>
                </a:lnTo>
                <a:lnTo>
                  <a:pt x="69369" y="104680"/>
                </a:lnTo>
                <a:lnTo>
                  <a:pt x="156513" y="156891"/>
                </a:lnTo>
                <a:lnTo>
                  <a:pt x="236349" y="103788"/>
                </a:lnTo>
                <a:lnTo>
                  <a:pt x="233913" y="102672"/>
                </a:lnTo>
                <a:lnTo>
                  <a:pt x="231478" y="102226"/>
                </a:lnTo>
                <a:lnTo>
                  <a:pt x="228230" y="101556"/>
                </a:lnTo>
                <a:lnTo>
                  <a:pt x="224983" y="101333"/>
                </a:lnTo>
                <a:close/>
                <a:moveTo>
                  <a:pt x="152859" y="0"/>
                </a:moveTo>
                <a:cubicBezTo>
                  <a:pt x="237281" y="0"/>
                  <a:pt x="305718" y="68437"/>
                  <a:pt x="305718" y="152859"/>
                </a:cubicBezTo>
                <a:cubicBezTo>
                  <a:pt x="305718" y="237281"/>
                  <a:pt x="237281" y="305718"/>
                  <a:pt x="152859" y="305718"/>
                </a:cubicBezTo>
                <a:cubicBezTo>
                  <a:pt x="68437" y="305718"/>
                  <a:pt x="0" y="237281"/>
                  <a:pt x="0" y="152859"/>
                </a:cubicBezTo>
                <a:cubicBezTo>
                  <a:pt x="0" y="68437"/>
                  <a:pt x="68437" y="0"/>
                  <a:pt x="152859" y="0"/>
                </a:cubicBez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1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67F4D057-0411-44BE-9A34-9F6F4E68953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424" y="351026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F743CF8-DD56-4E9A-882F-021EF52CEEF1}"/>
              </a:ext>
            </a:extLst>
          </p:cNvPr>
          <p:cNvCxnSpPr/>
          <p:nvPr/>
        </p:nvCxnSpPr>
        <p:spPr>
          <a:xfrm>
            <a:off x="603376" y="4164118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016156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001578-CEFD-42C1-B571-EEA403068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CE74DE-1DD8-4C44-8136-06D8552C1E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76C484-E589-43C4-B6C5-47B2F20EF4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3A16C-E90F-4167-AA61-48FA91EC4C0F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4AC1CD-03B9-44C4-A154-41927A34F5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2059DC-ACA2-4BBA-82F9-5ECC9F41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1A8BE1-0559-494D-8385-07FBF7B67D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732550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7EF9B-020A-4996-8B63-E96DA5B510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224CB7-B36B-469C-A501-900D12CF38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D3B239-CB85-42A9-A9BC-7DA001AEC7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4B839F-B3AC-471B-8982-09924F2B50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A67A31-0828-4107-A34C-E352513A7429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1574D5-10FB-445B-8450-8EE7270BBB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3E7F73-F509-4ECA-9BFD-EA9C3ADDDC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1A8BE1-0559-494D-8385-07FBF7B67D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68077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B65B59-8B6D-4EA3-BDB7-6EEDBE2466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006002-49C5-4B3F-A3BE-5D85086356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6C29FC-ACE2-4A17-99E9-CBA649E7CB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2766B4-37FD-4CC0-B6FC-D9461962348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488A928-BA29-4890-915C-F959F9A3C00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17BCF4E-066F-4CE2-93A9-17066A7252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F8BAB2-6D86-4113-97AE-BC52D264FAF5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DC58942-1255-4EA0-97D2-5D708F5AFB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F3F798D-9070-4167-9221-FE147D439A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1A8BE1-0559-494D-8385-07FBF7B67D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86535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827A31-1EEA-4795-AD1C-0566CF5A39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109B5FB-9567-4078-8A31-942FE9526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6FE321-25AA-47F6-ADF4-9336C0B6A746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951475-E2D5-4438-A691-3EE2483084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1D1DAB-309A-4B01-81E6-CEB2BDFEB3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1A8BE1-0559-494D-8385-07FBF7B67D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3896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0552756-04DE-4BBD-B4FE-BC9F55752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36207-36E1-458D-B279-E040AD0DF3F4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40B220-9465-40F7-ACE9-C223744CCD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52B404-2D02-4E19-AC00-D2010128AC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1A8BE1-0559-494D-8385-07FBF7B67D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79249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3DB24E-23BC-4845-83F2-BDFFC4330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7A7B07-BB8A-4E19-96FC-201D9CE8C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77508B-FCEC-4FA9-9C38-6942E4BA0F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71A999-A5AD-43C6-963E-7680F140A4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8948E-EA15-4B01-B7D6-17B6FCC5D354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CFB4D6-E46B-48E7-B8A7-65F9027B19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AEB316-5B36-4905-B795-178F6EBFA2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1A8BE1-0559-494D-8385-07FBF7B67D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961624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7A407-A770-4316-A604-032C7D840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5CDC4AD-07FB-4C4C-A7E2-0C0F93861CA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ADE4AA4-482F-4106-997E-066BD6E4A8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5D6DA1-A2F5-4718-B3B0-608F5AD0F6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591A0-5EFA-46C2-80BA-5FF3173F99BB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E8CB9A-D443-499E-892F-B415CB4153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9AB700-7EFF-43B8-84C8-66B44BEAFA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1A8BE1-0559-494D-8385-07FBF7B67D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87681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F7541-E5A0-46DD-ABF9-6B559D08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B5CFDB-9318-4BB1-9CF5-DC681F6F74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ED1F1A-0933-4A76-A84F-0CE035123D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214C8-2B1B-4B37-BE56-D10DF696C162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5DD4CA-824A-4F0B-8AE0-17F026C6B1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7220E6-5552-4BAE-8350-43276F8905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1A8BE1-0559-494D-8385-07FBF7B67D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71725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0D81E47-B3C4-477D-A615-9C2BF05F718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F3EBE59-6036-4692-B915-4A8F80517C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B6556D-D685-49E0-911A-182E05DF09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0D7D7-A85F-4AF4-8528-0F7842718EB8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05062-10C9-443E-AF81-A53F7192B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201893-2F42-42E1-AE2F-05C1064F2F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1A8BE1-0559-494D-8385-07FBF7B67D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289315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20" name="Rectangle 19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734326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/>
          </a:p>
        </p:txBody>
      </p:sp>
      <p:sp>
        <p:nvSpPr>
          <p:cNvPr id="24" name="Isosceles Triangle 23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9"/>
            <a:ext cx="2743200" cy="154799"/>
          </a:xfrm>
        </p:spPr>
        <p:txBody>
          <a:bodyPr tIns="36000" bIns="36000"/>
          <a:lstStyle>
            <a:lvl1pPr rtl="0">
              <a:defRPr sz="700">
                <a:solidFill>
                  <a:srgbClr val="D82435"/>
                </a:solidFill>
              </a:defRPr>
            </a:lvl1pPr>
          </a:lstStyle>
          <a:p>
            <a:fld id="{F915E16A-2A7B-4815-8631-10A07657B5DF}" type="datetime1">
              <a:rPr lang="id-ID" smtClean="0"/>
              <a:t>20/08/2025</a:t>
            </a:fld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lIns="0" tIns="36000" rIns="0" bIns="36000">
            <a:noAutofit/>
          </a:bodyPr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ACD2C71-09BC-40E8-992E-F53D72637942}"/>
              </a:ext>
            </a:extLst>
          </p:cNvPr>
          <p:cNvSpPr/>
          <p:nvPr/>
        </p:nvSpPr>
        <p:spPr>
          <a:xfrm>
            <a:off x="1304980" y="6674228"/>
            <a:ext cx="92377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900" b="1" dirty="0">
                <a:solidFill>
                  <a:srgbClr val="DC3949"/>
                </a:solidFill>
              </a:rPr>
              <a:t>This document is confidential and any unauthorized use without the permission of Kafaa is prohibited.	</a:t>
            </a:r>
          </a:p>
        </p:txBody>
      </p:sp>
    </p:spTree>
    <p:extLst>
      <p:ext uri="{BB962C8B-B14F-4D97-AF65-F5344CB8AC3E}">
        <p14:creationId xmlns:p14="http://schemas.microsoft.com/office/powerpoint/2010/main" val="4996246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F66D0B-423C-4F60-8A41-38AB77CCF537}"/>
              </a:ext>
            </a:extLst>
          </p:cNvPr>
          <p:cNvSpPr/>
          <p:nvPr/>
        </p:nvSpPr>
        <p:spPr>
          <a:xfrm>
            <a:off x="0" y="1554590"/>
            <a:ext cx="12192000" cy="31755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801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C62E4-0AFF-4351-939C-57BFEA05B8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3929F9CE-D09D-4447-A639-6D73D98D8A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FDD050D8-3560-4358-8279-5D569A7E54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18846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0E8E0A-6BA6-4CC3-95C7-976ACF93BD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115819-D6A2-4A79-807C-CB6B830161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6547BC-255F-401F-9A0D-00EE8752C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BCE3C-3C3B-40BD-906E-8BA25A8E7976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E74410-FF69-45CA-A624-7D1955CAE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AF4FD9-2DDA-4BAC-AF4B-779B71B6C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C0BAF-C1D7-47B4-92E2-0FDF16F4DB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950547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0DAF0C-3451-40D9-B8F6-5C8624EAE1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24F095-C547-45EF-BDE6-606C9FB0DC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6763B1-508F-41BE-BC90-6D1B2DF571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7A0D00-7D70-48AE-9DC0-11854C60BF02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FB2CA6-1D00-4CB5-9306-040A8878B1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168E5E-59B3-4E78-A336-81503B5A4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C0BAF-C1D7-47B4-92E2-0FDF16F4DB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01386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0FCA6-CECE-486A-A8E9-319C6D6794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AE55C4-81C9-4AE0-A732-B3F8C5CC66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AA5BA0-8C58-4B7B-BBA0-8D99955DE0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5B761A-7B81-4FCB-A12D-1DF7F3C46534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3B697F-EF5E-45D2-A615-E3B690E91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F53735-6904-4468-98C1-42B94109E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C0BAF-C1D7-47B4-92E2-0FDF16F4DB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27449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75C23-0321-405E-A223-1BE179EC5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C89650-71B9-4B4E-B935-ED150BF7D0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D83602-E85C-414A-843E-32A77BC7B4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B28679-F01C-4D70-BCDB-D84A44BAF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B91071-E5C7-4B22-9F9B-30D1D3950FF6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1DA1B8E-231E-49A7-84C7-510EEF0220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251893-8C35-468D-8E6C-D35BC8DEC6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C0BAF-C1D7-47B4-92E2-0FDF16F4DB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751850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1D63AA-242A-4CEE-A465-388848841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9D11AA-F4EF-4F13-BCB7-00C190FA8A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C53EB4-3742-4852-A520-87AA1FBE2D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444098E-EF6D-4180-929C-BF469D14E5B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99C0916-F342-498D-8E45-069E2AEC49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C590D8A-D9A9-4A24-9B1C-C8964957A5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B9511-9ED1-4644-9DCF-59D56B55F3D6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DAC0A5-1EEF-4166-80AE-8F03FDD9CC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8F0C35A-9A30-4AA4-B8AC-E6D09658EF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C0BAF-C1D7-47B4-92E2-0FDF16F4DB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393254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9E158-BAA3-4098-9AA3-850FC62F63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65DB0B-5707-4CD6-BBA4-00D0C3B9EE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E04597-3CC3-403B-B6CC-0A0FD8C96B64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9C7EEE-CDCC-4FF4-808B-E24907ECC8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8B831D-F5AF-4E4F-BC90-AC4B0F322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C0BAF-C1D7-47B4-92E2-0FDF16F4DB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23242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195B2F-3E19-4C95-8E3F-AE32B335BD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99791E-8632-41FA-AC65-2BC25C729E7F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C1131D-F9FE-486F-9801-40F3D5A919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6778EF-E958-4752-855F-E99C6378F0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C0BAF-C1D7-47B4-92E2-0FDF16F4DB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913684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39006-5912-4F0F-8C6E-57420C41C8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7B1B6F-0B74-4697-9E72-28C09CF13B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94BB9A-F822-4A8F-A7F3-686092CFE5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FEA1FA-046C-4FB4-938C-C79BA10326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E7ED49-7EBA-4276-8114-F7F3E977AF9E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3F6DB4C-0049-4652-97FD-5B58755C48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7FFD58-8392-4BC0-99BF-06753EB316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C0BAF-C1D7-47B4-92E2-0FDF16F4DB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70262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0D8AF7-CA88-45D5-8142-1129697835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4B9847D-9950-40B0-9AC5-96585A27DAB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51A7DC-0E55-47D0-8CE7-BB2B61BA99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2BDC5E-47F8-41DB-A888-DF6632B3BE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F435C6-18D4-42D6-8DA3-D67282ADA3C8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234E3D-5B76-4863-92C4-554F4C6FCE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A24DEC-CE66-47EE-BA90-FC8377A2A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C0BAF-C1D7-47B4-92E2-0FDF16F4DB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646660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291913-4236-4579-B218-E2D9D6F7E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9CFCB7C-E96B-4C78-91B7-396516FD11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1D43D6-F857-4D28-96E5-B9DFA240D7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9FAF81-2EDB-4977-9F08-968BA2E08F3B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F97AC4-4DF4-4E3A-8EE5-631FAF3A3F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C5A0C8-B760-4DB4-B548-C0CFC7828C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C0BAF-C1D7-47B4-92E2-0FDF16F4DB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47772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003373-1794-42BB-8A2E-B64962B20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296" y="365126"/>
            <a:ext cx="10955709" cy="600550"/>
          </a:xfrm>
        </p:spPr>
        <p:txBody>
          <a:bodyPr>
            <a:normAutofit/>
          </a:bodyPr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F634C9-8108-43DA-8F71-0985176D05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  <a:lvl5pPr>
              <a:spcAft>
                <a:spcPts val="12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F1007C03-1B49-4195-87D9-C2D07D472557}"/>
              </a:ext>
            </a:extLst>
          </p:cNvPr>
          <p:cNvSpPr txBox="1">
            <a:spLocks/>
          </p:cNvSpPr>
          <p:nvPr/>
        </p:nvSpPr>
        <p:spPr>
          <a:xfrm>
            <a:off x="655314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05C0DED-35EE-462E-94F7-088C6BE6011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 b="4005"/>
          <a:stretch/>
        </p:blipFill>
        <p:spPr>
          <a:xfrm>
            <a:off x="1" y="6089129"/>
            <a:ext cx="3492938" cy="57517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CA09138-4794-41B2-8B94-A58BC40C75BF}"/>
              </a:ext>
            </a:extLst>
          </p:cNvPr>
          <p:cNvSpPr/>
          <p:nvPr/>
        </p:nvSpPr>
        <p:spPr>
          <a:xfrm>
            <a:off x="609001" y="6666650"/>
            <a:ext cx="337791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 sz="1801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24999FE-1E04-4B3D-A05B-5D4A136192CE}"/>
              </a:ext>
            </a:extLst>
          </p:cNvPr>
          <p:cNvSpPr txBox="1">
            <a:spLocks/>
          </p:cNvSpPr>
          <p:nvPr/>
        </p:nvSpPr>
        <p:spPr>
          <a:xfrm>
            <a:off x="655314" y="6681890"/>
            <a:ext cx="245700" cy="170006"/>
          </a:xfrm>
          <a:prstGeom prst="rect">
            <a:avLst/>
          </a:prstGeom>
        </p:spPr>
        <p:txBody>
          <a:bodyPr vert="horz" lIns="0" tIns="36000" rIns="0" bIns="3600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bg1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6F4544B-0D22-43A3-93EF-F88095C56C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E616E8FE-F2C0-40A6-8B57-4D9A3BF27C12}"/>
              </a:ext>
            </a:extLst>
          </p:cNvPr>
          <p:cNvSpPr txBox="1">
            <a:spLocks/>
          </p:cNvSpPr>
          <p:nvPr/>
        </p:nvSpPr>
        <p:spPr>
          <a:xfrm>
            <a:off x="655314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1C2F9B8-FA05-4A6E-82A0-2966E905CBF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 b="4005"/>
          <a:stretch/>
        </p:blipFill>
        <p:spPr>
          <a:xfrm>
            <a:off x="1" y="6089129"/>
            <a:ext cx="3492938" cy="57517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21E68F2E-4EFF-4D2D-B51E-415FE8FD39B3}"/>
              </a:ext>
            </a:extLst>
          </p:cNvPr>
          <p:cNvSpPr/>
          <p:nvPr/>
        </p:nvSpPr>
        <p:spPr>
          <a:xfrm>
            <a:off x="609001" y="6666650"/>
            <a:ext cx="337791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 sz="1801"/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599447D4-BE74-48FD-B17E-DBF3D3B041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8470F4D-D5D7-49A0-9446-F570F9195035}"/>
              </a:ext>
            </a:extLst>
          </p:cNvPr>
          <p:cNvSpPr/>
          <p:nvPr/>
        </p:nvSpPr>
        <p:spPr>
          <a:xfrm>
            <a:off x="5773003" y="6681890"/>
            <a:ext cx="682388" cy="144926"/>
          </a:xfrm>
          <a:prstGeom prst="rect">
            <a:avLst/>
          </a:prstGeom>
          <a:solidFill>
            <a:srgbClr val="CDCD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0D6DAB6-4407-422B-A485-6D50250173EE}"/>
              </a:ext>
            </a:extLst>
          </p:cNvPr>
          <p:cNvSpPr/>
          <p:nvPr/>
        </p:nvSpPr>
        <p:spPr>
          <a:xfrm>
            <a:off x="1304980" y="6674228"/>
            <a:ext cx="92377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900" b="1" dirty="0">
                <a:solidFill>
                  <a:srgbClr val="DC3949"/>
                </a:solidFill>
              </a:rPr>
              <a:t>This document is confidential and any unauthorized use without the permission of Kafaa is prohibited.	</a:t>
            </a:r>
          </a:p>
        </p:txBody>
      </p:sp>
    </p:spTree>
    <p:extLst>
      <p:ext uri="{BB962C8B-B14F-4D97-AF65-F5344CB8AC3E}">
        <p14:creationId xmlns:p14="http://schemas.microsoft.com/office/powerpoint/2010/main" val="292529846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DD841A0-2F5B-47CC-B938-9285C190C12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03ED245-637B-4078-9F8D-8E36BDC760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8F1E74-CCBC-497A-998F-9981AF145D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521D78-6175-4518-8609-53FDEE97037D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AFBD5E-5615-4178-BF70-24DE3ED9A3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34716E-47E6-4F4B-AD8E-FCC03DC8EB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C0BAF-C1D7-47B4-92E2-0FDF16F4DB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953119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62"/>
            <a:ext cx="2743200" cy="154799"/>
          </a:xfrm>
        </p:spPr>
        <p:txBody>
          <a:bodyPr vert="horz" lIns="91440" tIns="36000" rIns="91440" bIns="36000" rtlCol="0" anchor="ctr"/>
          <a:lstStyle>
            <a:lvl1pPr algn="l">
              <a:defRPr lang="id-ID" sz="525" smtClean="0">
                <a:solidFill>
                  <a:srgbClr val="D82435"/>
                </a:solidFill>
              </a:defRPr>
            </a:lvl1pPr>
          </a:lstStyle>
          <a:p>
            <a:fld id="{BF703F60-C089-49CB-AFC2-8426A50CF282}" type="datetime1">
              <a:rPr lang="id-ID" smtClean="0"/>
              <a:t>20/08/2025</a:t>
            </a:fld>
            <a:endParaRPr lang="id-ID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7858FF-852E-4F4F-8768-1A9C296237FB}"/>
              </a:ext>
            </a:extLst>
          </p:cNvPr>
          <p:cNvSpPr/>
          <p:nvPr/>
        </p:nvSpPr>
        <p:spPr>
          <a:xfrm>
            <a:off x="5669280" y="6697848"/>
            <a:ext cx="1240971" cy="123111"/>
          </a:xfrm>
          <a:prstGeom prst="rect">
            <a:avLst/>
          </a:prstGeom>
          <a:solidFill>
            <a:srgbClr val="CDCD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EC9236F-2AC0-4E58-8147-80D8BC55B330}"/>
              </a:ext>
            </a:extLst>
          </p:cNvPr>
          <p:cNvSpPr/>
          <p:nvPr/>
        </p:nvSpPr>
        <p:spPr>
          <a:xfrm>
            <a:off x="7122396" y="6723970"/>
            <a:ext cx="1240971" cy="123111"/>
          </a:xfrm>
          <a:prstGeom prst="rect">
            <a:avLst/>
          </a:prstGeom>
          <a:solidFill>
            <a:srgbClr val="CDCD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03F505C-F6A2-4B7F-AAE7-4E8028F3920C}"/>
              </a:ext>
            </a:extLst>
          </p:cNvPr>
          <p:cNvSpPr/>
          <p:nvPr/>
        </p:nvSpPr>
        <p:spPr>
          <a:xfrm>
            <a:off x="3744475" y="6670109"/>
            <a:ext cx="92377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900" dirty="0">
                <a:solidFill>
                  <a:srgbClr val="CD3333"/>
                </a:solidFill>
              </a:rPr>
              <a:t>This document is confidential and any unauthorized use without the permission of Kafaa is prohibited.</a:t>
            </a:r>
            <a:r>
              <a:rPr lang="en-US" sz="900" dirty="0">
                <a:solidFill>
                  <a:schemeClr val="bg1">
                    <a:lumMod val="85000"/>
                  </a:schemeClr>
                </a:solidFill>
              </a:rPr>
              <a:t>	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86FC357-B4B5-45E4-BA00-2954A4B0F0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</p:spPr>
        <p:txBody>
          <a:bodyPr/>
          <a:lstStyle/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4528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ECCDC-5181-4586-8873-64FA104D0A7B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8" r="11655" b="314"/>
          <a:stretch/>
        </p:blipFill>
        <p:spPr>
          <a:xfrm>
            <a:off x="1" y="-2"/>
            <a:ext cx="10755567" cy="6858000"/>
          </a:xfrm>
          <a:custGeom>
            <a:avLst/>
            <a:gdLst>
              <a:gd name="connsiteX0" fmla="*/ 0 w 8738898"/>
              <a:gd name="connsiteY0" fmla="*/ 0 h 6858000"/>
              <a:gd name="connsiteX1" fmla="*/ 7015393 w 8738898"/>
              <a:gd name="connsiteY1" fmla="*/ 0 h 6858000"/>
              <a:gd name="connsiteX2" fmla="*/ 8355773 w 8738898"/>
              <a:gd name="connsiteY2" fmla="*/ 1653189 h 6858000"/>
              <a:gd name="connsiteX3" fmla="*/ 8355773 w 8738898"/>
              <a:gd name="connsiteY3" fmla="*/ 3934802 h 6858000"/>
              <a:gd name="connsiteX4" fmla="*/ 5985690 w 8738898"/>
              <a:gd name="connsiteY4" fmla="*/ 6858000 h 6858000"/>
              <a:gd name="connsiteX5" fmla="*/ 0 w 873889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38898" h="6858000">
                <a:moveTo>
                  <a:pt x="0" y="0"/>
                </a:moveTo>
                <a:lnTo>
                  <a:pt x="7015393" y="0"/>
                </a:lnTo>
                <a:lnTo>
                  <a:pt x="8355773" y="1653189"/>
                </a:lnTo>
                <a:cubicBezTo>
                  <a:pt x="8866607" y="2283239"/>
                  <a:pt x="8866607" y="3304752"/>
                  <a:pt x="8355773" y="3934802"/>
                </a:cubicBezTo>
                <a:lnTo>
                  <a:pt x="5985690" y="6858000"/>
                </a:lnTo>
                <a:lnTo>
                  <a:pt x="0" y="6858000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8" name="Freeform 7"/>
          <p:cNvSpPr/>
          <p:nvPr/>
        </p:nvSpPr>
        <p:spPr>
          <a:xfrm>
            <a:off x="1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72000">
                <a:srgbClr val="D82435">
                  <a:alpha val="11000"/>
                </a:srgbClr>
              </a:gs>
              <a:gs pos="13000">
                <a:srgbClr val="D8243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cxnSp>
        <p:nvCxnSpPr>
          <p:cNvPr id="9" name="Straight Connector 8"/>
          <p:cNvCxnSpPr/>
          <p:nvPr/>
        </p:nvCxnSpPr>
        <p:spPr>
          <a:xfrm>
            <a:off x="1510860" y="5041836"/>
            <a:ext cx="97790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1" y="6633460"/>
            <a:ext cx="92377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900" dirty="0">
                <a:solidFill>
                  <a:schemeClr val="bg1">
                    <a:lumMod val="85000"/>
                  </a:schemeClr>
                </a:solidFill>
              </a:rPr>
              <a:t>This document is confidential and any unauthorized use without the permission of Kafaa is prohibited.	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62831" y="5848434"/>
            <a:ext cx="2271911" cy="785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083542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BE768-A0D3-41D3-8ABB-1FDCB4759829}" type="datetime1">
              <a:rPr lang="id-ID" smtClean="0"/>
              <a:t>20/08/2025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F5E4-35CF-4C29-B9F8-D683A03DA2A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12672476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1BF61-3ADC-4F45-8A2E-546E2F85FE22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Freeform 6"/>
          <p:cNvSpPr/>
          <p:nvPr/>
        </p:nvSpPr>
        <p:spPr>
          <a:xfrm>
            <a:off x="1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8474" y="5715007"/>
            <a:ext cx="2097466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9" name="Straight Connector 8"/>
          <p:cNvCxnSpPr/>
          <p:nvPr/>
        </p:nvCxnSpPr>
        <p:spPr>
          <a:xfrm>
            <a:off x="730250" y="2463800"/>
            <a:ext cx="977900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798707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06E02-5083-46BC-8A3C-DA778197696B}" type="datetime1">
              <a:rPr lang="id-ID" smtClean="0"/>
              <a:t>20/08/2025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F5E4-35CF-4C29-B9F8-D683A03DA2A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74019115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F0FBE0-0A9B-4535-8539-A7B9E4938B26}" type="datetime1">
              <a:rPr lang="id-ID" smtClean="0"/>
              <a:t>20/08/2025</a:t>
            </a:fld>
            <a:endParaRPr lang="id-ID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F5E4-35CF-4C29-B9F8-D683A03DA2A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73637758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78D3-7FC9-40DF-893B-E15DA6618754}" type="datetime1">
              <a:rPr lang="id-ID" smtClean="0"/>
              <a:t>20/08/2025</a:t>
            </a:fld>
            <a:endParaRPr lang="id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F5E4-35CF-4C29-B9F8-D683A03DA2A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60693993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6CE345-426D-48E0-9E2E-2691491F225C}" type="datetime1">
              <a:rPr lang="id-ID" smtClean="0"/>
              <a:t>20/08/2025</a:t>
            </a:fld>
            <a:endParaRPr lang="id-ID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F5E4-35CF-4C29-B9F8-D683A03DA2A9}" type="slidenum">
              <a:rPr lang="id-ID" smtClean="0"/>
              <a:t>‹#›</a:t>
            </a:fld>
            <a:endParaRPr lang="id-ID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307" r="3056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" name="Group 5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Freeform 6"/>
            <p:cNvSpPr/>
            <p:nvPr/>
          </p:nvSpPr>
          <p:spPr>
            <a:xfrm>
              <a:off x="1" y="0"/>
              <a:ext cx="10755567" cy="6858000"/>
            </a:xfrm>
            <a:custGeom>
              <a:avLst/>
              <a:gdLst>
                <a:gd name="connsiteX0" fmla="*/ 0 w 10778328"/>
                <a:gd name="connsiteY0" fmla="*/ 0 h 6858000"/>
                <a:gd name="connsiteX1" fmla="*/ 8652602 w 10778328"/>
                <a:gd name="connsiteY1" fmla="*/ 0 h 6858000"/>
                <a:gd name="connsiteX2" fmla="*/ 10305791 w 10778328"/>
                <a:gd name="connsiteY2" fmla="*/ 1653189 h 6858000"/>
                <a:gd name="connsiteX3" fmla="*/ 10305791 w 10778328"/>
                <a:gd name="connsiteY3" fmla="*/ 3934802 h 6858000"/>
                <a:gd name="connsiteX4" fmla="*/ 7382593 w 10778328"/>
                <a:gd name="connsiteY4" fmla="*/ 6858000 h 6858000"/>
                <a:gd name="connsiteX5" fmla="*/ 0 w 10778328"/>
                <a:gd name="connsiteY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78328" h="6858000">
                  <a:moveTo>
                    <a:pt x="0" y="0"/>
                  </a:moveTo>
                  <a:lnTo>
                    <a:pt x="8652602" y="0"/>
                  </a:lnTo>
                  <a:lnTo>
                    <a:pt x="10305791" y="1653189"/>
                  </a:lnTo>
                  <a:cubicBezTo>
                    <a:pt x="10935841" y="2283239"/>
                    <a:pt x="10935841" y="3304752"/>
                    <a:pt x="10305791" y="3934802"/>
                  </a:cubicBezTo>
                  <a:lnTo>
                    <a:pt x="7382593" y="6858000"/>
                  </a:lnTo>
                  <a:lnTo>
                    <a:pt x="0" y="6858000"/>
                  </a:lnTo>
                  <a:close/>
                </a:path>
              </a:pathLst>
            </a:custGeom>
            <a:gradFill>
              <a:gsLst>
                <a:gs pos="80000">
                  <a:schemeClr val="bg1"/>
                </a:gs>
                <a:gs pos="21000">
                  <a:schemeClr val="bg1">
                    <a:alpha val="44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  <p:sp>
          <p:nvSpPr>
            <p:cNvPr id="8" name="Freeform 7"/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>
                <a:gd name="connsiteX0" fmla="*/ 86343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7367004 w 12192000"/>
                <a:gd name="connsiteY3" fmla="*/ 6858000 h 6858000"/>
                <a:gd name="connsiteX4" fmla="*/ 10284029 w 12192000"/>
                <a:gd name="connsiteY4" fmla="*/ 3934802 h 6858000"/>
                <a:gd name="connsiteX5" fmla="*/ 10284029 w 12192000"/>
                <a:gd name="connsiteY5" fmla="*/ 1653189 h 6858000"/>
                <a:gd name="connsiteX6" fmla="*/ 0 w 12192000"/>
                <a:gd name="connsiteY6" fmla="*/ 0 h 6858000"/>
                <a:gd name="connsiteX7" fmla="*/ 1 w 12192000"/>
                <a:gd name="connsiteY7" fmla="*/ 0 h 6858000"/>
                <a:gd name="connsiteX8" fmla="*/ 1 w 12192000"/>
                <a:gd name="connsiteY8" fmla="*/ 6858000 h 6858000"/>
                <a:gd name="connsiteX9" fmla="*/ 0 w 12192000"/>
                <a:gd name="connsiteY9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92000" h="6858000">
                  <a:moveTo>
                    <a:pt x="8634331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7367004" y="6858000"/>
                  </a:lnTo>
                  <a:lnTo>
                    <a:pt x="10284029" y="3934802"/>
                  </a:lnTo>
                  <a:cubicBezTo>
                    <a:pt x="10912748" y="3304752"/>
                    <a:pt x="10912748" y="2283239"/>
                    <a:pt x="10284029" y="1653189"/>
                  </a:cubicBezTo>
                  <a:close/>
                  <a:moveTo>
                    <a:pt x="0" y="0"/>
                  </a:moveTo>
                  <a:lnTo>
                    <a:pt x="1" y="0"/>
                  </a:lnTo>
                  <a:lnTo>
                    <a:pt x="1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72000">
                  <a:srgbClr val="D82435">
                    <a:alpha val="11000"/>
                  </a:srgbClr>
                </a:gs>
                <a:gs pos="13000">
                  <a:srgbClr val="D82435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1" dirty="0"/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05" y="664029"/>
            <a:ext cx="2814433" cy="960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90153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04B65B-9AC0-404C-A8A6-8BD601D6D691}" type="datetime1">
              <a:rPr lang="id-ID" smtClean="0"/>
              <a:t>20/08/2025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F5E4-35CF-4C29-B9F8-D683A03DA2A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7986947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003373-1794-42BB-8A2E-B64962B20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296" y="365126"/>
            <a:ext cx="10955709" cy="6005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F634C9-8108-43DA-8F71-0985176D050F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Tx/>
              <a:buFont typeface="Nexa Light" panose="02000000000000000000" pitchFamily="50" charset="0"/>
              <a:buNone/>
              <a:tabLst/>
              <a:defRPr/>
            </a:lvl1pPr>
          </a:lstStyle>
          <a:p>
            <a:pPr lvl="0"/>
            <a:r>
              <a:rPr lang="en-US" dirty="0"/>
              <a:t>"Lorem ipsum dolor sit amet, consectetur adipiscing elit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 </a:t>
            </a: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r>
              <a:rPr lang="en-US" dirty="0"/>
              <a:t> non </a:t>
            </a:r>
            <a:r>
              <a:rPr lang="en-US" dirty="0" err="1"/>
              <a:t>proident</a:t>
            </a:r>
            <a:r>
              <a:rPr lang="en-US" dirty="0"/>
              <a:t>, sunt in culpa qui </a:t>
            </a:r>
            <a:r>
              <a:rPr lang="en-US" dirty="0" err="1"/>
              <a:t>officia</a:t>
            </a:r>
            <a:r>
              <a:rPr lang="en-US" dirty="0"/>
              <a:t> </a:t>
            </a:r>
            <a:r>
              <a:rPr lang="en-US" dirty="0" err="1"/>
              <a:t>deserunt</a:t>
            </a:r>
            <a:r>
              <a:rPr lang="en-US" dirty="0"/>
              <a:t> </a:t>
            </a:r>
            <a:r>
              <a:rPr lang="en-US" dirty="0" err="1"/>
              <a:t>mollit</a:t>
            </a:r>
            <a:r>
              <a:rPr lang="en-US" dirty="0"/>
              <a:t> </a:t>
            </a:r>
            <a:r>
              <a:rPr lang="en-US" dirty="0" err="1"/>
              <a:t>anim</a:t>
            </a:r>
            <a:r>
              <a:rPr lang="en-US" dirty="0"/>
              <a:t> id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laborum</a:t>
            </a:r>
            <a:r>
              <a:rPr lang="en-US" dirty="0"/>
              <a:t>.“</a:t>
            </a:r>
          </a:p>
          <a:p>
            <a:pPr lvl="0"/>
            <a:r>
              <a:rPr lang="en-US" dirty="0"/>
              <a:t>"Sed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perspiciatis</a:t>
            </a:r>
            <a:r>
              <a:rPr lang="en-US" dirty="0"/>
              <a:t> </a:t>
            </a:r>
            <a:r>
              <a:rPr lang="en-US" dirty="0" err="1"/>
              <a:t>unde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</a:t>
            </a:r>
            <a:r>
              <a:rPr lang="en-US" dirty="0" err="1"/>
              <a:t>iste</a:t>
            </a:r>
            <a:r>
              <a:rPr lang="en-US" dirty="0"/>
              <a:t> </a:t>
            </a:r>
            <a:r>
              <a:rPr lang="en-US" dirty="0" err="1"/>
              <a:t>natus</a:t>
            </a:r>
            <a:r>
              <a:rPr lang="en-US" dirty="0"/>
              <a:t> error sit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accusantium</a:t>
            </a:r>
            <a:r>
              <a:rPr lang="en-US" dirty="0"/>
              <a:t> </a:t>
            </a:r>
            <a:r>
              <a:rPr lang="en-US" dirty="0" err="1"/>
              <a:t>doloremque</a:t>
            </a:r>
            <a:r>
              <a:rPr lang="en-US" dirty="0"/>
              <a:t> </a:t>
            </a:r>
            <a:r>
              <a:rPr lang="en-US" dirty="0" err="1"/>
              <a:t>laudantium</a:t>
            </a:r>
            <a:r>
              <a:rPr lang="en-US" dirty="0"/>
              <a:t>, </a:t>
            </a:r>
            <a:r>
              <a:rPr lang="en-US" dirty="0" err="1"/>
              <a:t>totam</a:t>
            </a:r>
            <a:r>
              <a:rPr lang="en-US" dirty="0"/>
              <a:t> rem </a:t>
            </a:r>
            <a:r>
              <a:rPr lang="en-US" dirty="0" err="1"/>
              <a:t>aperiam</a:t>
            </a:r>
            <a:r>
              <a:rPr lang="en-US" dirty="0"/>
              <a:t>, </a:t>
            </a:r>
            <a:r>
              <a:rPr lang="en-US" dirty="0" err="1"/>
              <a:t>eaque</a:t>
            </a:r>
            <a:r>
              <a:rPr lang="en-US" dirty="0"/>
              <a:t> </a:t>
            </a:r>
            <a:r>
              <a:rPr lang="en-US" dirty="0" err="1"/>
              <a:t>ipsa</a:t>
            </a:r>
            <a:r>
              <a:rPr lang="en-US" dirty="0"/>
              <a:t> </a:t>
            </a:r>
            <a:r>
              <a:rPr lang="en-US" dirty="0" err="1"/>
              <a:t>quae</a:t>
            </a:r>
            <a:r>
              <a:rPr lang="en-US" dirty="0"/>
              <a:t> ab </a:t>
            </a:r>
            <a:r>
              <a:rPr lang="en-US" dirty="0" err="1"/>
              <a:t>illo</a:t>
            </a:r>
            <a:r>
              <a:rPr lang="en-US" dirty="0"/>
              <a:t> </a:t>
            </a:r>
            <a:r>
              <a:rPr lang="en-US" dirty="0" err="1"/>
              <a:t>inventore</a:t>
            </a:r>
            <a:r>
              <a:rPr lang="en-US" dirty="0"/>
              <a:t> </a:t>
            </a:r>
            <a:r>
              <a:rPr lang="en-US" dirty="0" err="1"/>
              <a:t>veritatis</a:t>
            </a:r>
            <a:r>
              <a:rPr lang="en-US" dirty="0"/>
              <a:t> et quasi </a:t>
            </a:r>
            <a:r>
              <a:rPr lang="en-US" dirty="0" err="1"/>
              <a:t>architecto</a:t>
            </a:r>
            <a:r>
              <a:rPr lang="en-US" dirty="0"/>
              <a:t> </a:t>
            </a:r>
            <a:r>
              <a:rPr lang="en-US" dirty="0" err="1"/>
              <a:t>beatae</a:t>
            </a:r>
            <a:r>
              <a:rPr lang="en-US" dirty="0"/>
              <a:t> vitae dicta sunt </a:t>
            </a:r>
            <a:r>
              <a:rPr lang="en-US" dirty="0" err="1"/>
              <a:t>explicabo</a:t>
            </a:r>
            <a:r>
              <a:rPr lang="en-US" dirty="0"/>
              <a:t>. Nemo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ipsam</a:t>
            </a:r>
            <a:r>
              <a:rPr lang="en-US" dirty="0"/>
              <a:t>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voluptas</a:t>
            </a:r>
            <a:r>
              <a:rPr lang="en-US" dirty="0"/>
              <a:t> sit </a:t>
            </a:r>
            <a:r>
              <a:rPr lang="en-US" dirty="0" err="1"/>
              <a:t>aspernatur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odi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fugit, sed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consequuntur</a:t>
            </a:r>
            <a:r>
              <a:rPr lang="en-US" dirty="0"/>
              <a:t> </a:t>
            </a:r>
            <a:r>
              <a:rPr lang="en-US" dirty="0" err="1"/>
              <a:t>magni</a:t>
            </a:r>
            <a:r>
              <a:rPr lang="en-US" dirty="0"/>
              <a:t> </a:t>
            </a:r>
            <a:r>
              <a:rPr lang="en-US" dirty="0" err="1"/>
              <a:t>dolore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qui </a:t>
            </a:r>
            <a:r>
              <a:rPr lang="en-US" dirty="0" err="1"/>
              <a:t>ratione</a:t>
            </a:r>
            <a:r>
              <a:rPr lang="en-US" dirty="0"/>
              <a:t>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sequi</a:t>
            </a:r>
            <a:r>
              <a:rPr lang="en-US" dirty="0"/>
              <a:t> </a:t>
            </a:r>
            <a:r>
              <a:rPr lang="en-US" dirty="0" err="1"/>
              <a:t>nesciunt</a:t>
            </a:r>
            <a:r>
              <a:rPr lang="en-US" dirty="0"/>
              <a:t>. </a:t>
            </a:r>
            <a:r>
              <a:rPr lang="en-US" dirty="0" err="1"/>
              <a:t>Neque</a:t>
            </a:r>
            <a:r>
              <a:rPr lang="en-US" dirty="0"/>
              <a:t> </a:t>
            </a:r>
            <a:r>
              <a:rPr lang="en-US" dirty="0" err="1"/>
              <a:t>porro</a:t>
            </a:r>
            <a:r>
              <a:rPr lang="en-US" dirty="0"/>
              <a:t> </a:t>
            </a:r>
            <a:r>
              <a:rPr lang="en-US" dirty="0" err="1"/>
              <a:t>quisquam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dolorem</a:t>
            </a:r>
            <a:r>
              <a:rPr lang="en-US" dirty="0"/>
              <a:t> ipsum </a:t>
            </a:r>
            <a:r>
              <a:rPr lang="en-US" dirty="0" err="1"/>
              <a:t>quia</a:t>
            </a:r>
            <a:r>
              <a:rPr lang="en-US" dirty="0"/>
              <a:t> dolor sit amet, consectetur, </a:t>
            </a:r>
            <a:r>
              <a:rPr lang="en-US" dirty="0" err="1"/>
              <a:t>adipisci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, sed </a:t>
            </a:r>
            <a:r>
              <a:rPr lang="en-US" dirty="0" err="1"/>
              <a:t>quia</a:t>
            </a:r>
            <a:r>
              <a:rPr lang="en-US" dirty="0"/>
              <a:t> non </a:t>
            </a:r>
            <a:r>
              <a:rPr lang="en-US" dirty="0" err="1"/>
              <a:t>numquam</a:t>
            </a:r>
            <a:r>
              <a:rPr lang="en-US" dirty="0"/>
              <a:t> </a:t>
            </a:r>
            <a:r>
              <a:rPr lang="en-US" dirty="0" err="1"/>
              <a:t>eius</a:t>
            </a:r>
            <a:r>
              <a:rPr lang="en-US" dirty="0"/>
              <a:t> </a:t>
            </a:r>
            <a:r>
              <a:rPr lang="en-US" dirty="0" err="1"/>
              <a:t>modi</a:t>
            </a:r>
            <a:r>
              <a:rPr lang="en-US" dirty="0"/>
              <a:t> </a:t>
            </a:r>
            <a:r>
              <a:rPr lang="en-US" dirty="0" err="1"/>
              <a:t>tempora</a:t>
            </a:r>
            <a:r>
              <a:rPr lang="en-US" dirty="0"/>
              <a:t> </a:t>
            </a:r>
            <a:r>
              <a:rPr lang="en-US" dirty="0" err="1"/>
              <a:t>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</a:t>
            </a:r>
            <a:r>
              <a:rPr lang="en-US" dirty="0" err="1"/>
              <a:t>magnam</a:t>
            </a:r>
            <a:r>
              <a:rPr lang="en-US" dirty="0"/>
              <a:t>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quaerat</a:t>
            </a:r>
            <a:r>
              <a:rPr lang="en-US" dirty="0"/>
              <a:t> </a:t>
            </a:r>
            <a:r>
              <a:rPr lang="en-US" dirty="0" err="1"/>
              <a:t>voluptatem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a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nostrum </a:t>
            </a:r>
            <a:r>
              <a:rPr lang="en-US" dirty="0" err="1"/>
              <a:t>exercitationem</a:t>
            </a:r>
            <a:r>
              <a:rPr lang="en-US" dirty="0"/>
              <a:t> </a:t>
            </a:r>
            <a:r>
              <a:rPr lang="en-US" dirty="0" err="1"/>
              <a:t>ullam</a:t>
            </a:r>
            <a:r>
              <a:rPr lang="en-US" dirty="0"/>
              <a:t> corporis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aboriosam</a:t>
            </a:r>
            <a:r>
              <a:rPr lang="en-US" dirty="0"/>
              <a:t>,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d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i</a:t>
            </a:r>
            <a:r>
              <a:rPr lang="en-US" dirty="0"/>
              <a:t> </a:t>
            </a:r>
            <a:r>
              <a:rPr lang="en-US" dirty="0" err="1"/>
              <a:t>consequatur</a:t>
            </a:r>
            <a:r>
              <a:rPr lang="en-US" dirty="0"/>
              <a:t>?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vel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ure</a:t>
            </a:r>
            <a:r>
              <a:rPr lang="en-US" dirty="0"/>
              <a:t> </a:t>
            </a:r>
            <a:r>
              <a:rPr lang="en-US" dirty="0" err="1"/>
              <a:t>reprehenderit</a:t>
            </a:r>
            <a:r>
              <a:rPr lang="en-US" dirty="0"/>
              <a:t> qui in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nihil </a:t>
            </a:r>
            <a:r>
              <a:rPr lang="en-US" dirty="0" err="1"/>
              <a:t>molestiae</a:t>
            </a:r>
            <a:r>
              <a:rPr lang="en-US" dirty="0"/>
              <a:t> </a:t>
            </a:r>
            <a:r>
              <a:rPr lang="en-US" dirty="0" err="1"/>
              <a:t>consequatur</a:t>
            </a:r>
            <a:r>
              <a:rPr lang="en-US" dirty="0"/>
              <a:t>, vel </a:t>
            </a:r>
            <a:r>
              <a:rPr lang="en-US" dirty="0" err="1"/>
              <a:t>illum</a:t>
            </a:r>
            <a:r>
              <a:rPr lang="en-US" dirty="0"/>
              <a:t> qui </a:t>
            </a:r>
            <a:r>
              <a:rPr lang="en-US" dirty="0" err="1"/>
              <a:t>dolorem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quo </a:t>
            </a:r>
            <a:r>
              <a:rPr lang="en-US" dirty="0" err="1"/>
              <a:t>voluptas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?“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Tx/>
              <a:buFont typeface="Nexa Light" panose="02000000000000000000" pitchFamily="50" charset="0"/>
              <a:buNone/>
              <a:tabLst/>
              <a:defRPr/>
            </a:pPr>
            <a:r>
              <a:rPr lang="en-US" dirty="0"/>
              <a:t>"Lorem ipsum dolor sit amet, consectetur adipiscing elit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 </a:t>
            </a: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r>
              <a:rPr lang="en-US" dirty="0"/>
              <a:t> non </a:t>
            </a:r>
            <a:r>
              <a:rPr lang="en-US" dirty="0" err="1"/>
              <a:t>proident</a:t>
            </a:r>
            <a:r>
              <a:rPr lang="en-US" dirty="0"/>
              <a:t>, sunt in culpa qui </a:t>
            </a:r>
            <a:r>
              <a:rPr lang="en-US" dirty="0" err="1"/>
              <a:t>officia</a:t>
            </a:r>
            <a:r>
              <a:rPr lang="en-US" dirty="0"/>
              <a:t> </a:t>
            </a:r>
            <a:r>
              <a:rPr lang="en-US" dirty="0" err="1"/>
              <a:t>deserunt</a:t>
            </a:r>
            <a:r>
              <a:rPr lang="en-US" dirty="0"/>
              <a:t> </a:t>
            </a:r>
            <a:r>
              <a:rPr lang="en-US" dirty="0" err="1"/>
              <a:t>mollit</a:t>
            </a:r>
            <a:r>
              <a:rPr lang="en-US" dirty="0"/>
              <a:t> </a:t>
            </a:r>
            <a:r>
              <a:rPr lang="en-US" dirty="0" err="1"/>
              <a:t>anim</a:t>
            </a:r>
            <a:r>
              <a:rPr lang="en-US" dirty="0"/>
              <a:t> id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laborum</a:t>
            </a:r>
            <a:r>
              <a:rPr lang="en-US" dirty="0"/>
              <a:t>.“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Tx/>
              <a:buFont typeface="Nexa Light" panose="02000000000000000000" pitchFamily="50" charset="0"/>
              <a:buNone/>
              <a:tabLst/>
              <a:defRPr/>
            </a:pPr>
            <a:r>
              <a:rPr lang="en-US" dirty="0"/>
              <a:t>"Lorem ipsum dolor sit amet, consectetur adipiscing elit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 </a:t>
            </a: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r>
              <a:rPr lang="en-US" dirty="0"/>
              <a:t> non </a:t>
            </a:r>
            <a:r>
              <a:rPr lang="en-US" dirty="0" err="1"/>
              <a:t>proident</a:t>
            </a:r>
            <a:r>
              <a:rPr lang="en-US" dirty="0"/>
              <a:t>, sunt in culpa qui </a:t>
            </a:r>
            <a:r>
              <a:rPr lang="en-US" dirty="0" err="1"/>
              <a:t>officia</a:t>
            </a:r>
            <a:r>
              <a:rPr lang="en-US" dirty="0"/>
              <a:t> </a:t>
            </a:r>
            <a:r>
              <a:rPr lang="en-US" dirty="0" err="1"/>
              <a:t>deserunt</a:t>
            </a:r>
            <a:r>
              <a:rPr lang="en-US" dirty="0"/>
              <a:t> </a:t>
            </a:r>
            <a:r>
              <a:rPr lang="en-US" dirty="0" err="1"/>
              <a:t>mollit</a:t>
            </a:r>
            <a:r>
              <a:rPr lang="en-US" dirty="0"/>
              <a:t> </a:t>
            </a:r>
            <a:r>
              <a:rPr lang="en-US" dirty="0" err="1"/>
              <a:t>anim</a:t>
            </a:r>
            <a:r>
              <a:rPr lang="en-US" dirty="0"/>
              <a:t> id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laborum</a:t>
            </a:r>
            <a:r>
              <a:rPr lang="en-US" dirty="0"/>
              <a:t>.“</a:t>
            </a:r>
          </a:p>
        </p:txBody>
      </p:sp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F1007C03-1B49-4195-87D9-C2D07D472557}"/>
              </a:ext>
            </a:extLst>
          </p:cNvPr>
          <p:cNvSpPr txBox="1">
            <a:spLocks/>
          </p:cNvSpPr>
          <p:nvPr/>
        </p:nvSpPr>
        <p:spPr>
          <a:xfrm>
            <a:off x="655314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05C0DED-35EE-462E-94F7-088C6BE6011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 b="4005"/>
          <a:stretch/>
        </p:blipFill>
        <p:spPr>
          <a:xfrm>
            <a:off x="1" y="6089129"/>
            <a:ext cx="3492938" cy="57517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CA09138-4794-41B2-8B94-A58BC40C75BF}"/>
              </a:ext>
            </a:extLst>
          </p:cNvPr>
          <p:cNvSpPr/>
          <p:nvPr/>
        </p:nvSpPr>
        <p:spPr>
          <a:xfrm>
            <a:off x="609001" y="6666650"/>
            <a:ext cx="337791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 sz="1801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24999FE-1E04-4B3D-A05B-5D4A136192CE}"/>
              </a:ext>
            </a:extLst>
          </p:cNvPr>
          <p:cNvSpPr txBox="1">
            <a:spLocks/>
          </p:cNvSpPr>
          <p:nvPr/>
        </p:nvSpPr>
        <p:spPr>
          <a:xfrm>
            <a:off x="655314" y="6681890"/>
            <a:ext cx="245700" cy="170006"/>
          </a:xfrm>
          <a:prstGeom prst="rect">
            <a:avLst/>
          </a:prstGeom>
        </p:spPr>
        <p:txBody>
          <a:bodyPr vert="horz" lIns="0" tIns="36000" rIns="0" bIns="3600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bg1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6F4544B-0D22-43A3-93EF-F88095C56C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E616E8FE-F2C0-40A6-8B57-4D9A3BF27C12}"/>
              </a:ext>
            </a:extLst>
          </p:cNvPr>
          <p:cNvSpPr txBox="1">
            <a:spLocks/>
          </p:cNvSpPr>
          <p:nvPr/>
        </p:nvSpPr>
        <p:spPr>
          <a:xfrm>
            <a:off x="655314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1C2F9B8-FA05-4A6E-82A0-2966E905CBF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 b="4005"/>
          <a:stretch/>
        </p:blipFill>
        <p:spPr>
          <a:xfrm>
            <a:off x="1" y="6089129"/>
            <a:ext cx="3492938" cy="57517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21E68F2E-4EFF-4D2D-B51E-415FE8FD39B3}"/>
              </a:ext>
            </a:extLst>
          </p:cNvPr>
          <p:cNvSpPr/>
          <p:nvPr/>
        </p:nvSpPr>
        <p:spPr>
          <a:xfrm>
            <a:off x="609001" y="6666650"/>
            <a:ext cx="337791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 sz="1801"/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D6E562C6-0B4A-4997-BCA6-370DC734E5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90264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310457-A427-4082-AFCE-C29122F30282}" type="datetime1">
              <a:rPr lang="id-ID" smtClean="0"/>
              <a:t>20/08/2025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F5E4-35CF-4C29-B9F8-D683A03DA2A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42370062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EB8AD-24FB-40E6-899C-859B419715AD}" type="datetime1">
              <a:rPr lang="id-ID" smtClean="0"/>
              <a:t>20/08/2025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F5E4-35CF-4C29-B9F8-D683A03DA2A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5690977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907A21-430E-48D1-BFA7-F727D0070968}" type="datetime1">
              <a:rPr lang="id-ID" smtClean="0"/>
              <a:t>20/08/2025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F5E4-35CF-4C29-B9F8-D683A03DA2A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11180383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1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8474" y="5715007"/>
            <a:ext cx="2097466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9" name="Straight Connector 8"/>
          <p:cNvCxnSpPr/>
          <p:nvPr/>
        </p:nvCxnSpPr>
        <p:spPr>
          <a:xfrm>
            <a:off x="730250" y="2463800"/>
            <a:ext cx="977900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9062" y="2708281"/>
            <a:ext cx="10515600" cy="664797"/>
          </a:xfrm>
        </p:spPr>
        <p:txBody>
          <a:bodyPr vert="horz" lIns="0" tIns="0" rIns="0" bIns="0" rtlCol="0" anchor="t">
            <a:spAutoFit/>
          </a:bodyPr>
          <a:lstStyle>
            <a:lvl1pPr>
              <a:defRPr lang="en-US" sz="4800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9062" y="3538178"/>
            <a:ext cx="10515600" cy="249299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800" smtClean="0">
                <a:solidFill>
                  <a:srgbClr val="D8243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31196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6324" y="6171942"/>
            <a:ext cx="4659354" cy="686058"/>
          </a:xfrm>
          <a:prstGeom prst="rect">
            <a:avLst/>
          </a:prstGeom>
        </p:spPr>
      </p:pic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32" y="1021103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11" indent="0">
              <a:buNone/>
              <a:defRPr>
                <a:solidFill>
                  <a:srgbClr val="D82435"/>
                </a:solidFill>
              </a:defRPr>
            </a:lvl2pPr>
            <a:lvl3pPr marL="914423" indent="0">
              <a:buNone/>
              <a:defRPr>
                <a:solidFill>
                  <a:srgbClr val="D82435"/>
                </a:solidFill>
              </a:defRPr>
            </a:lvl3pPr>
            <a:lvl4pPr marL="1371634" indent="0">
              <a:buNone/>
              <a:defRPr>
                <a:solidFill>
                  <a:srgbClr val="D82435"/>
                </a:solidFill>
              </a:defRPr>
            </a:lvl4pPr>
            <a:lvl5pPr marL="1828846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1"/>
            <a:ext cx="10721977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509165"/>
            <a:ext cx="2743200" cy="154799"/>
          </a:xfrm>
        </p:spPr>
        <p:txBody>
          <a:bodyPr/>
          <a:lstStyle>
            <a:lvl1pPr>
              <a:defRPr sz="1001"/>
            </a:lvl1pPr>
          </a:lstStyle>
          <a:p>
            <a:fld id="{3BDCCB40-07F2-4EF5-9D4C-DE5EA0BCECB5}" type="datetime1">
              <a:rPr lang="id-ID" smtClean="0"/>
              <a:t>20/08/2025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509157"/>
            <a:ext cx="4114800" cy="154800"/>
          </a:xfrm>
        </p:spPr>
        <p:txBody>
          <a:bodyPr lIns="0" tIns="0" rIns="0" bIns="0" anchor="ctr" anchorCtr="0"/>
          <a:lstStyle>
            <a:lvl1pPr algn="l">
              <a:defRPr sz="1001"/>
            </a:lvl1pPr>
          </a:lstStyle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372357"/>
            <a:ext cx="302400" cy="428400"/>
          </a:xfrm>
        </p:spPr>
        <p:txBody>
          <a:bodyPr lIns="0" tIns="0" rIns="0" bIns="0">
            <a:noAutofit/>
          </a:bodyPr>
          <a:lstStyle>
            <a:lvl1pPr algn="ctr">
              <a:defRPr sz="1001">
                <a:solidFill>
                  <a:schemeClr val="tx1"/>
                </a:solidFill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2" name="Rectangle 11"/>
          <p:cNvSpPr/>
          <p:nvPr/>
        </p:nvSpPr>
        <p:spPr>
          <a:xfrm>
            <a:off x="734330" y="6751320"/>
            <a:ext cx="415743" cy="10668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5933" y="6011542"/>
            <a:ext cx="566386" cy="74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47322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32" y="1021103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11" indent="0">
              <a:buNone/>
              <a:defRPr>
                <a:solidFill>
                  <a:srgbClr val="D82435"/>
                </a:solidFill>
              </a:defRPr>
            </a:lvl2pPr>
            <a:lvl3pPr marL="914423" indent="0">
              <a:buNone/>
              <a:defRPr>
                <a:solidFill>
                  <a:srgbClr val="D82435"/>
                </a:solidFill>
              </a:defRPr>
            </a:lvl3pPr>
            <a:lvl4pPr marL="1371634" indent="0">
              <a:buNone/>
              <a:defRPr>
                <a:solidFill>
                  <a:srgbClr val="D82435"/>
                </a:solidFill>
              </a:defRPr>
            </a:lvl4pPr>
            <a:lvl5pPr marL="1828846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1"/>
            <a:ext cx="10721977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5933" y="6011542"/>
            <a:ext cx="566386" cy="7446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6324" y="6171942"/>
            <a:ext cx="4659354" cy="686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64606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6324" y="6171942"/>
            <a:ext cx="4659354" cy="686058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509165"/>
            <a:ext cx="2743200" cy="154799"/>
          </a:xfrm>
        </p:spPr>
        <p:txBody>
          <a:bodyPr/>
          <a:lstStyle>
            <a:lvl1pPr>
              <a:defRPr sz="1001"/>
            </a:lvl1pPr>
          </a:lstStyle>
          <a:p>
            <a:fld id="{4F33E7BD-058D-49DC-B7F4-F06B881BFD8A}" type="datetime1">
              <a:rPr lang="id-ID" smtClean="0"/>
              <a:t>20/08/2025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509157"/>
            <a:ext cx="4114800" cy="154800"/>
          </a:xfrm>
        </p:spPr>
        <p:txBody>
          <a:bodyPr lIns="0" tIns="0" rIns="0" bIns="0" anchor="ctr" anchorCtr="0"/>
          <a:lstStyle>
            <a:lvl1pPr algn="l">
              <a:defRPr sz="1001"/>
            </a:lvl1pPr>
          </a:lstStyle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372357"/>
            <a:ext cx="302400" cy="428400"/>
          </a:xfrm>
        </p:spPr>
        <p:txBody>
          <a:bodyPr lIns="0" tIns="0" rIns="0" bIns="0">
            <a:noAutofit/>
          </a:bodyPr>
          <a:lstStyle>
            <a:lvl1pPr algn="ctr">
              <a:defRPr sz="1001">
                <a:solidFill>
                  <a:schemeClr val="tx1"/>
                </a:solidFill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2" name="Rectangle 11"/>
          <p:cNvSpPr/>
          <p:nvPr/>
        </p:nvSpPr>
        <p:spPr>
          <a:xfrm>
            <a:off x="734330" y="6751320"/>
            <a:ext cx="415743" cy="10668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734328" y="6269548"/>
            <a:ext cx="102816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5933" y="6011542"/>
            <a:ext cx="566386" cy="74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70260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10">
            <a:extLst>
              <a:ext uri="{FF2B5EF4-FFF2-40B4-BE49-F238E27FC236}">
                <a16:creationId xmlns:a16="http://schemas.microsoft.com/office/drawing/2014/main" id="{B2BC91AC-0017-4A6B-92BF-0C9B2CD3C23E}"/>
              </a:ext>
            </a:extLst>
          </p:cNvPr>
          <p:cNvSpPr txBox="1">
            <a:spLocks/>
          </p:cNvSpPr>
          <p:nvPr/>
        </p:nvSpPr>
        <p:spPr>
          <a:xfrm>
            <a:off x="791332" y="6697852"/>
            <a:ext cx="3024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FD5C379-5A89-45FF-A52E-BEDE674366C2}"/>
              </a:ext>
            </a:extLst>
          </p:cNvPr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AB5B2CF-A1A5-4240-86B9-BC17E22872F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/>
          <a:stretch/>
        </p:blipFill>
        <p:spPr>
          <a:xfrm>
            <a:off x="38107" y="6121682"/>
            <a:ext cx="4369771" cy="609031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161B4AE-D9E7-43DE-A7B7-37CAAAF0423F}"/>
              </a:ext>
            </a:extLst>
          </p:cNvPr>
          <p:cNvSpPr/>
          <p:nvPr/>
        </p:nvSpPr>
        <p:spPr>
          <a:xfrm>
            <a:off x="734330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 sz="1801"/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5B808912-CA72-4FD1-A58B-D5E275D8B92A}"/>
              </a:ext>
            </a:extLst>
          </p:cNvPr>
          <p:cNvSpPr/>
          <p:nvPr/>
        </p:nvSpPr>
        <p:spPr>
          <a:xfrm flipV="1">
            <a:off x="11220719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2F8A7B3F-7296-41EF-AF84-5F88CE59627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3623" y="6281640"/>
            <a:ext cx="516693" cy="552823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690E5D9-07D9-4721-878F-53C1A8BBE2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81900" y="6721767"/>
            <a:ext cx="2743200" cy="154799"/>
          </a:xfrm>
        </p:spPr>
        <p:txBody>
          <a:bodyPr tIns="36000" bIns="36000"/>
          <a:lstStyle>
            <a:lvl1pPr rtl="0">
              <a:defRPr sz="700">
                <a:solidFill>
                  <a:srgbClr val="D82435"/>
                </a:solidFill>
                <a:latin typeface="Nexa Light" panose="02000000000000000000" pitchFamily="50" charset="0"/>
              </a:defRPr>
            </a:lvl1pPr>
          </a:lstStyle>
          <a:p>
            <a:fld id="{C1D20E7B-7A49-431D-801F-56D3F33FEE9C}" type="datetime1">
              <a:rPr lang="id-ID" smtClean="0"/>
              <a:t>20/08/2025</a:t>
            </a:fld>
            <a:endParaRPr lang="id-ID"/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6D37506A-C904-4A81-9531-9602358D5D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lIns="0" tIns="36000" rIns="0" bIns="36000">
            <a:noAutofit/>
          </a:bodyPr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02480757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 descr="نتيجة بحث الصور عن ‪KPMG logo icon‬‏">
            <a:extLst>
              <a:ext uri="{FF2B5EF4-FFF2-40B4-BE49-F238E27FC236}">
                <a16:creationId xmlns:a16="http://schemas.microsoft.com/office/drawing/2014/main" id="{E141E8CE-97AA-4A05-8DE8-191A7BA407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06299" y="6471393"/>
            <a:ext cx="853440" cy="249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040758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_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BCA03C-12FE-40A5-B9ED-38586D724B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881562" y="6356350"/>
            <a:ext cx="2743200" cy="365125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fld id="{09FFE479-B40A-46EB-A324-EC7181B86D27}" type="datetime1">
              <a:rPr lang="id-ID" smtClean="0"/>
              <a:t>20/08/2025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F3D11F1-1028-4CBF-BA8D-72D096D00C6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8" r="11655" b="314"/>
          <a:stretch/>
        </p:blipFill>
        <p:spPr>
          <a:xfrm flipH="1">
            <a:off x="3448549" y="-2"/>
            <a:ext cx="8738898" cy="6858000"/>
          </a:xfrm>
          <a:custGeom>
            <a:avLst/>
            <a:gdLst>
              <a:gd name="connsiteX0" fmla="*/ 0 w 8738898"/>
              <a:gd name="connsiteY0" fmla="*/ 0 h 6858000"/>
              <a:gd name="connsiteX1" fmla="*/ 7015393 w 8738898"/>
              <a:gd name="connsiteY1" fmla="*/ 0 h 6858000"/>
              <a:gd name="connsiteX2" fmla="*/ 8355773 w 8738898"/>
              <a:gd name="connsiteY2" fmla="*/ 1653189 h 6858000"/>
              <a:gd name="connsiteX3" fmla="*/ 8355773 w 8738898"/>
              <a:gd name="connsiteY3" fmla="*/ 3934802 h 6858000"/>
              <a:gd name="connsiteX4" fmla="*/ 5985690 w 8738898"/>
              <a:gd name="connsiteY4" fmla="*/ 6858000 h 6858000"/>
              <a:gd name="connsiteX5" fmla="*/ 0 w 873889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38898" h="6858000">
                <a:moveTo>
                  <a:pt x="0" y="0"/>
                </a:moveTo>
                <a:lnTo>
                  <a:pt x="7015393" y="0"/>
                </a:lnTo>
                <a:lnTo>
                  <a:pt x="8355773" y="1653189"/>
                </a:lnTo>
                <a:cubicBezTo>
                  <a:pt x="8866607" y="2283239"/>
                  <a:pt x="8866607" y="3304752"/>
                  <a:pt x="8355773" y="3934802"/>
                </a:cubicBezTo>
                <a:lnTo>
                  <a:pt x="5985690" y="6858000"/>
                </a:lnTo>
                <a:lnTo>
                  <a:pt x="0" y="6858000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9" name="Freeform 7">
            <a:extLst>
              <a:ext uri="{FF2B5EF4-FFF2-40B4-BE49-F238E27FC236}">
                <a16:creationId xmlns:a16="http://schemas.microsoft.com/office/drawing/2014/main" id="{AF9512CB-441F-4B5E-A0FE-7FF7F37BB36D}"/>
              </a:ext>
            </a:extLst>
          </p:cNvPr>
          <p:cNvSpPr/>
          <p:nvPr/>
        </p:nvSpPr>
        <p:spPr>
          <a:xfrm flipH="1">
            <a:off x="3448549" y="0"/>
            <a:ext cx="8738898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72000">
                <a:srgbClr val="D82435">
                  <a:alpha val="11000"/>
                </a:srgbClr>
              </a:gs>
              <a:gs pos="13000">
                <a:srgbClr val="D8243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CEF01BE-9E42-4FE5-9487-09C60C3184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620" y="5841308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0ED1571-09CD-4BAD-9843-28D6F1C4DDFE}"/>
              </a:ext>
            </a:extLst>
          </p:cNvPr>
          <p:cNvCxnSpPr/>
          <p:nvPr/>
        </p:nvCxnSpPr>
        <p:spPr>
          <a:xfrm>
            <a:off x="10565140" y="4164118"/>
            <a:ext cx="794544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DA3CF038-BE9C-4CEC-9473-D8B819549F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50115" y="3207400"/>
            <a:ext cx="7261106" cy="886397"/>
          </a:xfrm>
        </p:spPr>
        <p:txBody>
          <a:bodyPr vert="horz" wrap="square" lIns="0" tIns="0" rIns="0" bIns="0" rtlCol="0" anchor="ctr">
            <a:spAutoFit/>
          </a:bodyPr>
          <a:lstStyle>
            <a:lvl1pPr algn="r" rtl="1">
              <a:defRPr lang="en-US" sz="3200" dirty="0">
                <a:solidFill>
                  <a:schemeClr val="bg1"/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D5A7A42-02BD-478F-A339-9EF1ABDE7D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98688" y="4456039"/>
            <a:ext cx="4112533" cy="923330"/>
          </a:xfrm>
        </p:spPr>
        <p:txBody>
          <a:bodyPr vert="horz" wrap="square" lIns="0" tIns="0" rIns="0" bIns="0" rtlCol="0">
            <a:spAutoFit/>
          </a:bodyPr>
          <a:lstStyle>
            <a:lvl1pPr marL="0" indent="0" algn="r" rtl="1">
              <a:buNone/>
              <a:defRPr lang="en-US" sz="2000" dirty="0">
                <a:solidFill>
                  <a:schemeClr val="bg1"/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5F20BA5-BA09-4744-A5C4-E7000B8EE2C0}"/>
              </a:ext>
            </a:extLst>
          </p:cNvPr>
          <p:cNvSpPr txBox="1">
            <a:spLocks/>
          </p:cNvSpPr>
          <p:nvPr/>
        </p:nvSpPr>
        <p:spPr>
          <a:xfrm>
            <a:off x="6394620" y="6391866"/>
            <a:ext cx="5657852" cy="172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 rtl="1"/>
            <a:r>
              <a:rPr lang="en-GB" dirty="0">
                <a:solidFill>
                  <a:prstClr val="white"/>
                </a:solidFill>
                <a:ea typeface="Helvetica Neue" charset="0"/>
                <a:cs typeface="Helvetica Neue" charset="0"/>
              </a:rPr>
              <a:t>This document is confidential and any unauthorized use without the permission of Kafa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4025629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888">
          <p15:clr>
            <a:srgbClr val="FBAE40"/>
          </p15:clr>
        </p15:guide>
        <p15:guide id="4" orient="horz" pos="2260">
          <p15:clr>
            <a:srgbClr val="FBAE40"/>
          </p15:clr>
        </p15:guide>
        <p15:guide id="5" pos="168">
          <p15:clr>
            <a:srgbClr val="FBAE40"/>
          </p15:clr>
        </p15:guide>
        <p15:guide id="6" pos="751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 flipH="1">
            <a:off x="734326" y="6493393"/>
            <a:ext cx="102816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509157"/>
            <a:ext cx="2743200" cy="154799"/>
          </a:xfrm>
        </p:spPr>
        <p:txBody>
          <a:bodyPr/>
          <a:lstStyle>
            <a:lvl1pPr>
              <a:defRPr sz="1000"/>
            </a:lvl1pPr>
          </a:lstStyle>
          <a:p>
            <a:fld id="{2C0F4286-F987-44C2-AC4E-03A53773FC0B}" type="datetime1">
              <a:rPr lang="id-ID" smtClean="0"/>
              <a:t>20/0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509157"/>
            <a:ext cx="4114800" cy="154800"/>
          </a:xfrm>
        </p:spPr>
        <p:txBody>
          <a:bodyPr lIns="0" tIns="0" rIns="0" bIns="0" anchor="ctr" anchorCtr="0"/>
          <a:lstStyle>
            <a:lvl1pPr algn="l">
              <a:defRPr sz="100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372357"/>
            <a:ext cx="302400" cy="428400"/>
          </a:xfrm>
        </p:spPr>
        <p:txBody>
          <a:bodyPr lIns="0" tIns="0" rIns="0" bIns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4034578A-BCA8-4876-AF0A-3D493F00BD23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734326" y="6751320"/>
            <a:ext cx="415743" cy="10668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1399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003373-1794-42BB-8A2E-B64962B20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296" y="365126"/>
            <a:ext cx="10955709" cy="6005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F634C9-8108-43DA-8F71-0985176D050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15297" y="1598065"/>
            <a:ext cx="5162995" cy="4505832"/>
          </a:xfrm>
        </p:spPr>
        <p:txBody>
          <a:bodyPr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Tx/>
              <a:buFont typeface="Nexa Light" panose="02000000000000000000" pitchFamily="50" charset="0"/>
              <a:buNone/>
              <a:tabLst/>
              <a:defRPr/>
            </a:lvl1pPr>
          </a:lstStyle>
          <a:p>
            <a:pPr lvl="0"/>
            <a:r>
              <a:rPr lang="en-US" dirty="0" err="1"/>
              <a:t>dolore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qui </a:t>
            </a:r>
            <a:r>
              <a:rPr lang="en-US" dirty="0" err="1"/>
              <a:t>ratione</a:t>
            </a:r>
            <a:r>
              <a:rPr lang="en-US" dirty="0"/>
              <a:t>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sequi</a:t>
            </a:r>
            <a:r>
              <a:rPr lang="en-US" dirty="0"/>
              <a:t> </a:t>
            </a:r>
            <a:r>
              <a:rPr lang="en-US" dirty="0" err="1"/>
              <a:t>nesciunt</a:t>
            </a:r>
            <a:r>
              <a:rPr lang="en-US" dirty="0"/>
              <a:t>. </a:t>
            </a:r>
            <a:r>
              <a:rPr lang="en-US" dirty="0" err="1"/>
              <a:t>Neque</a:t>
            </a:r>
            <a:r>
              <a:rPr lang="en-US" dirty="0"/>
              <a:t> </a:t>
            </a:r>
            <a:r>
              <a:rPr lang="en-US" dirty="0" err="1"/>
              <a:t>porro</a:t>
            </a:r>
            <a:r>
              <a:rPr lang="en-US" dirty="0"/>
              <a:t> </a:t>
            </a:r>
            <a:r>
              <a:rPr lang="en-US" dirty="0" err="1"/>
              <a:t>quisquam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dolorem</a:t>
            </a:r>
            <a:r>
              <a:rPr lang="en-US" dirty="0"/>
              <a:t> ipsum </a:t>
            </a:r>
            <a:r>
              <a:rPr lang="en-US" dirty="0" err="1"/>
              <a:t>quia</a:t>
            </a:r>
            <a:r>
              <a:rPr lang="en-US" dirty="0"/>
              <a:t> dolor sit amet, consectetur, </a:t>
            </a:r>
            <a:r>
              <a:rPr lang="en-US" dirty="0" err="1"/>
              <a:t>adipisci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, sed </a:t>
            </a:r>
            <a:r>
              <a:rPr lang="en-US" dirty="0" err="1"/>
              <a:t>ullam</a:t>
            </a:r>
            <a:r>
              <a:rPr lang="en-US" dirty="0"/>
              <a:t> corporis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aboriosam</a:t>
            </a:r>
            <a:r>
              <a:rPr lang="en-US" dirty="0"/>
              <a:t>,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d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i</a:t>
            </a:r>
            <a:r>
              <a:rPr lang="en-US" dirty="0"/>
              <a:t> </a:t>
            </a:r>
            <a:r>
              <a:rPr lang="en-US" dirty="0" err="1"/>
              <a:t>consequatur</a:t>
            </a:r>
            <a:r>
              <a:rPr lang="en-US" dirty="0"/>
              <a:t>?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vel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ure</a:t>
            </a:r>
            <a:r>
              <a:rPr lang="en-US" dirty="0"/>
              <a:t> </a:t>
            </a:r>
            <a:r>
              <a:rPr lang="en-US" dirty="0" err="1"/>
              <a:t>reprehenderit</a:t>
            </a:r>
            <a:r>
              <a:rPr lang="en-US" dirty="0"/>
              <a:t> qui in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nihil </a:t>
            </a:r>
            <a:r>
              <a:rPr lang="en-US" dirty="0" err="1"/>
              <a:t>molestiae</a:t>
            </a:r>
            <a:r>
              <a:rPr lang="en-US" dirty="0"/>
              <a:t> </a:t>
            </a:r>
            <a:r>
              <a:rPr lang="en-US" dirty="0" err="1"/>
              <a:t>consequatur</a:t>
            </a:r>
            <a:r>
              <a:rPr lang="en-US" dirty="0"/>
              <a:t>, vel </a:t>
            </a:r>
            <a:r>
              <a:rPr lang="en-US" dirty="0" err="1"/>
              <a:t>illum</a:t>
            </a:r>
            <a:r>
              <a:rPr lang="en-US" dirty="0"/>
              <a:t> qui </a:t>
            </a:r>
            <a:r>
              <a:rPr lang="en-US" dirty="0" err="1"/>
              <a:t>dolorem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quo </a:t>
            </a:r>
            <a:r>
              <a:rPr lang="en-US" dirty="0" err="1"/>
              <a:t>voluptas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?“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Tx/>
              <a:buFont typeface="Nexa Light" panose="02000000000000000000" pitchFamily="50" charset="0"/>
              <a:buNone/>
              <a:tabLst/>
              <a:defRPr/>
            </a:pPr>
            <a:r>
              <a:rPr lang="en-US" dirty="0"/>
              <a:t>"Lorem ipsum dolor sit amet, consectetur adipiscing elit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 </a:t>
            </a: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r>
              <a:rPr lang="en-US" dirty="0"/>
              <a:t> non </a:t>
            </a:r>
            <a:r>
              <a:rPr lang="en-US" dirty="0" err="1"/>
              <a:t>proident</a:t>
            </a:r>
            <a:r>
              <a:rPr lang="en-US" dirty="0"/>
              <a:t>, sunt in culpa qui </a:t>
            </a:r>
            <a:r>
              <a:rPr lang="en-US" dirty="0" err="1"/>
              <a:t>officia</a:t>
            </a:r>
            <a:r>
              <a:rPr lang="en-US" dirty="0"/>
              <a:t> </a:t>
            </a:r>
            <a:r>
              <a:rPr lang="en-US" dirty="0" err="1"/>
              <a:t>deserunt</a:t>
            </a:r>
            <a:r>
              <a:rPr lang="en-US" dirty="0"/>
              <a:t> </a:t>
            </a:r>
            <a:r>
              <a:rPr lang="en-US" dirty="0" err="1"/>
              <a:t>mollit</a:t>
            </a:r>
            <a:r>
              <a:rPr lang="en-US" dirty="0"/>
              <a:t> </a:t>
            </a:r>
            <a:r>
              <a:rPr lang="en-US" dirty="0" err="1"/>
              <a:t>anim</a:t>
            </a:r>
            <a:r>
              <a:rPr lang="en-US" dirty="0"/>
              <a:t> id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laborum</a:t>
            </a:r>
            <a:r>
              <a:rPr lang="en-US" dirty="0"/>
              <a:t>.“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Tx/>
              <a:buFont typeface="Nexa Light" panose="02000000000000000000" pitchFamily="50" charset="0"/>
              <a:buNone/>
              <a:tabLst/>
              <a:defRPr/>
            </a:pP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 </a:t>
            </a: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r>
              <a:rPr lang="en-US" dirty="0"/>
              <a:t> non </a:t>
            </a:r>
            <a:r>
              <a:rPr lang="en-US" dirty="0" err="1"/>
              <a:t>proident</a:t>
            </a:r>
            <a:r>
              <a:rPr lang="en-US" dirty="0"/>
              <a:t>, sunt in culpa qui </a:t>
            </a:r>
            <a:r>
              <a:rPr lang="en-US" dirty="0" err="1"/>
              <a:t>officia</a:t>
            </a:r>
            <a:r>
              <a:rPr lang="en-US" dirty="0"/>
              <a:t> </a:t>
            </a:r>
            <a:r>
              <a:rPr lang="en-US" dirty="0" err="1"/>
              <a:t>deserunt</a:t>
            </a:r>
            <a:r>
              <a:rPr lang="en-US" dirty="0"/>
              <a:t> </a:t>
            </a:r>
            <a:r>
              <a:rPr lang="en-US" dirty="0" err="1"/>
              <a:t>mollit</a:t>
            </a:r>
            <a:r>
              <a:rPr lang="en-US" dirty="0"/>
              <a:t> </a:t>
            </a:r>
            <a:r>
              <a:rPr lang="en-US" dirty="0" err="1"/>
              <a:t>anim</a:t>
            </a:r>
            <a:r>
              <a:rPr lang="en-US" dirty="0"/>
              <a:t> id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laborum</a:t>
            </a:r>
            <a:r>
              <a:rPr lang="en-US" dirty="0"/>
              <a:t>.“</a:t>
            </a:r>
          </a:p>
        </p:txBody>
      </p:sp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F1007C03-1B49-4195-87D9-C2D07D472557}"/>
              </a:ext>
            </a:extLst>
          </p:cNvPr>
          <p:cNvSpPr txBox="1">
            <a:spLocks/>
          </p:cNvSpPr>
          <p:nvPr/>
        </p:nvSpPr>
        <p:spPr>
          <a:xfrm>
            <a:off x="655314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05C0DED-35EE-462E-94F7-088C6BE6011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 b="4005"/>
          <a:stretch/>
        </p:blipFill>
        <p:spPr>
          <a:xfrm>
            <a:off x="1" y="6089129"/>
            <a:ext cx="3492938" cy="57517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CA09138-4794-41B2-8B94-A58BC40C75BF}"/>
              </a:ext>
            </a:extLst>
          </p:cNvPr>
          <p:cNvSpPr/>
          <p:nvPr/>
        </p:nvSpPr>
        <p:spPr>
          <a:xfrm>
            <a:off x="609001" y="6666650"/>
            <a:ext cx="337791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 sz="1801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24999FE-1E04-4B3D-A05B-5D4A136192CE}"/>
              </a:ext>
            </a:extLst>
          </p:cNvPr>
          <p:cNvSpPr txBox="1">
            <a:spLocks/>
          </p:cNvSpPr>
          <p:nvPr/>
        </p:nvSpPr>
        <p:spPr>
          <a:xfrm>
            <a:off x="655314" y="6681890"/>
            <a:ext cx="245700" cy="170006"/>
          </a:xfrm>
          <a:prstGeom prst="rect">
            <a:avLst/>
          </a:prstGeom>
        </p:spPr>
        <p:txBody>
          <a:bodyPr vert="horz" lIns="0" tIns="36000" rIns="0" bIns="3600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bg1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6F4544B-0D22-43A3-93EF-F88095C56C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E616E8FE-F2C0-40A6-8B57-4D9A3BF27C12}"/>
              </a:ext>
            </a:extLst>
          </p:cNvPr>
          <p:cNvSpPr txBox="1">
            <a:spLocks/>
          </p:cNvSpPr>
          <p:nvPr/>
        </p:nvSpPr>
        <p:spPr>
          <a:xfrm>
            <a:off x="655314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1C2F9B8-FA05-4A6E-82A0-2966E905CBF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 b="4005"/>
          <a:stretch/>
        </p:blipFill>
        <p:spPr>
          <a:xfrm>
            <a:off x="1" y="6089129"/>
            <a:ext cx="3492938" cy="57517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21E68F2E-4EFF-4D2D-B51E-415FE8FD39B3}"/>
              </a:ext>
            </a:extLst>
          </p:cNvPr>
          <p:cNvSpPr/>
          <p:nvPr/>
        </p:nvSpPr>
        <p:spPr>
          <a:xfrm>
            <a:off x="609001" y="6666650"/>
            <a:ext cx="337791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 sz="1801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C83C9F14-6328-4D77-8D82-29A0F9C7801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393588" y="1598065"/>
            <a:ext cx="5169762" cy="4505832"/>
          </a:xfrm>
        </p:spPr>
        <p:txBody>
          <a:bodyPr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Tx/>
              <a:buFont typeface="Nexa Light" panose="02000000000000000000" pitchFamily="50" charset="0"/>
              <a:buNone/>
              <a:tabLst/>
              <a:defRPr/>
            </a:lvl1pPr>
          </a:lstStyle>
          <a:p>
            <a:pPr lvl="0"/>
            <a:r>
              <a:rPr lang="en-US" dirty="0"/>
              <a:t>"Lorem ipsum dolor sit amet, consectetur adipiscing elit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 </a:t>
            </a: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r>
              <a:rPr lang="en-US" dirty="0"/>
              <a:t> non </a:t>
            </a:r>
            <a:r>
              <a:rPr lang="en-US" dirty="0" err="1"/>
              <a:t>proident</a:t>
            </a:r>
            <a:r>
              <a:rPr lang="en-US" dirty="0"/>
              <a:t>, sunt in culpa qui </a:t>
            </a:r>
            <a:r>
              <a:rPr lang="en-US" dirty="0" err="1"/>
              <a:t>officia</a:t>
            </a:r>
            <a:r>
              <a:rPr lang="en-US" dirty="0"/>
              <a:t> </a:t>
            </a:r>
            <a:r>
              <a:rPr lang="en-US" dirty="0" err="1"/>
              <a:t>deserunt</a:t>
            </a:r>
            <a:r>
              <a:rPr lang="en-US" dirty="0"/>
              <a:t> </a:t>
            </a:r>
            <a:r>
              <a:rPr lang="en-US" dirty="0" err="1"/>
              <a:t>mollit</a:t>
            </a:r>
            <a:r>
              <a:rPr lang="en-US" dirty="0"/>
              <a:t> </a:t>
            </a:r>
            <a:r>
              <a:rPr lang="en-US" dirty="0" err="1"/>
              <a:t>anim</a:t>
            </a:r>
            <a:r>
              <a:rPr lang="en-US" dirty="0"/>
              <a:t> id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laborum</a:t>
            </a:r>
            <a:r>
              <a:rPr lang="en-US" dirty="0"/>
              <a:t>.“</a:t>
            </a:r>
          </a:p>
          <a:p>
            <a:pPr lvl="0"/>
            <a:r>
              <a:rPr lang="en-US" dirty="0"/>
              <a:t>"Sed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perspiciatis</a:t>
            </a:r>
            <a:r>
              <a:rPr lang="en-US" dirty="0"/>
              <a:t> </a:t>
            </a:r>
            <a:r>
              <a:rPr lang="en-US" dirty="0" err="1"/>
              <a:t>unde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</a:t>
            </a:r>
            <a:r>
              <a:rPr lang="en-US" dirty="0" err="1"/>
              <a:t>iste</a:t>
            </a:r>
            <a:r>
              <a:rPr lang="en-US" dirty="0"/>
              <a:t> </a:t>
            </a:r>
            <a:r>
              <a:rPr lang="en-US" dirty="0" err="1"/>
              <a:t>natus</a:t>
            </a:r>
            <a:r>
              <a:rPr lang="en-US" dirty="0"/>
              <a:t> error sit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accusantium</a:t>
            </a:r>
            <a:r>
              <a:rPr lang="en-US" dirty="0"/>
              <a:t> </a:t>
            </a:r>
            <a:r>
              <a:rPr lang="en-US" dirty="0" err="1"/>
              <a:t>doloremque</a:t>
            </a:r>
            <a:r>
              <a:rPr lang="en-US" dirty="0"/>
              <a:t> </a:t>
            </a:r>
            <a:r>
              <a:rPr lang="en-US" dirty="0" err="1"/>
              <a:t>laudantium</a:t>
            </a:r>
            <a:r>
              <a:rPr lang="en-US" dirty="0"/>
              <a:t>, </a:t>
            </a:r>
            <a:r>
              <a:rPr lang="en-US" dirty="0" err="1"/>
              <a:t>totam</a:t>
            </a:r>
            <a:r>
              <a:rPr lang="en-US" dirty="0"/>
              <a:t> rem </a:t>
            </a:r>
            <a:r>
              <a:rPr lang="en-US" dirty="0" err="1"/>
              <a:t>aperiam</a:t>
            </a:r>
            <a:r>
              <a:rPr lang="en-US" dirty="0"/>
              <a:t>, </a:t>
            </a:r>
            <a:r>
              <a:rPr lang="en-US" dirty="0" err="1"/>
              <a:t>eaque</a:t>
            </a:r>
            <a:r>
              <a:rPr lang="en-US" dirty="0"/>
              <a:t> </a:t>
            </a:r>
            <a:r>
              <a:rPr lang="en-US" dirty="0" err="1"/>
              <a:t>ipsa</a:t>
            </a:r>
            <a:r>
              <a:rPr lang="en-US" dirty="0"/>
              <a:t> </a:t>
            </a:r>
            <a:r>
              <a:rPr lang="en-US" dirty="0" err="1"/>
              <a:t>quae</a:t>
            </a:r>
            <a:r>
              <a:rPr lang="en-US" dirty="0"/>
              <a:t> ab </a:t>
            </a:r>
            <a:r>
              <a:rPr lang="en-US" dirty="0" err="1"/>
              <a:t>illo</a:t>
            </a:r>
            <a:r>
              <a:rPr lang="en-US" dirty="0"/>
              <a:t> </a:t>
            </a:r>
            <a:r>
              <a:rPr lang="en-US" dirty="0" err="1"/>
              <a:t>inventore</a:t>
            </a:r>
            <a:r>
              <a:rPr lang="en-US" dirty="0"/>
              <a:t> </a:t>
            </a:r>
            <a:r>
              <a:rPr lang="en-US" dirty="0" err="1"/>
              <a:t>veritatis</a:t>
            </a:r>
            <a:r>
              <a:rPr lang="en-US" dirty="0"/>
              <a:t> et quasi </a:t>
            </a:r>
            <a:r>
              <a:rPr lang="en-US" dirty="0" err="1"/>
              <a:t>architecto</a:t>
            </a:r>
            <a:r>
              <a:rPr lang="en-US" dirty="0"/>
              <a:t> </a:t>
            </a:r>
            <a:r>
              <a:rPr lang="en-US" dirty="0" err="1"/>
              <a:t>beatae</a:t>
            </a:r>
            <a:r>
              <a:rPr lang="en-US" dirty="0"/>
              <a:t> vitae dicta sunt </a:t>
            </a:r>
            <a:r>
              <a:rPr lang="en-US" dirty="0" err="1"/>
              <a:t>explicabo</a:t>
            </a:r>
            <a:r>
              <a:rPr lang="en-US" dirty="0"/>
              <a:t>. Nemo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ipsam</a:t>
            </a:r>
            <a:r>
              <a:rPr lang="en-US" dirty="0"/>
              <a:t>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voluptas</a:t>
            </a:r>
            <a:r>
              <a:rPr lang="en-US" dirty="0"/>
              <a:t> sit </a:t>
            </a:r>
            <a:r>
              <a:rPr lang="en-US" dirty="0" err="1"/>
              <a:t>aspernatur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odi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fugit, sed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consequuntur</a:t>
            </a:r>
            <a:r>
              <a:rPr lang="en-US" dirty="0"/>
              <a:t> </a:t>
            </a:r>
            <a:r>
              <a:rPr lang="en-US" dirty="0" err="1"/>
              <a:t>magni</a:t>
            </a:r>
            <a:endParaRPr lang="en-US" dirty="0"/>
          </a:p>
          <a:p>
            <a:pPr lvl="0"/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 </a:t>
            </a: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r>
              <a:rPr lang="en-US" dirty="0"/>
              <a:t> non </a:t>
            </a:r>
            <a:r>
              <a:rPr lang="en-US" dirty="0" err="1"/>
              <a:t>proident</a:t>
            </a:r>
            <a:r>
              <a:rPr lang="en-US" dirty="0"/>
              <a:t>, sunt in culpa qui </a:t>
            </a:r>
            <a:r>
              <a:rPr lang="en-US" dirty="0" err="1"/>
              <a:t>officia</a:t>
            </a:r>
            <a:r>
              <a:rPr lang="en-US" dirty="0"/>
              <a:t> </a:t>
            </a:r>
            <a:r>
              <a:rPr lang="en-US" dirty="0" err="1"/>
              <a:t>deserunt</a:t>
            </a:r>
            <a:r>
              <a:rPr lang="en-US" dirty="0"/>
              <a:t> </a:t>
            </a:r>
            <a:r>
              <a:rPr lang="en-US" dirty="0" err="1"/>
              <a:t>mollit</a:t>
            </a:r>
            <a:r>
              <a:rPr lang="en-US" dirty="0"/>
              <a:t> </a:t>
            </a:r>
            <a:r>
              <a:rPr lang="en-US" dirty="0" err="1"/>
              <a:t>anim</a:t>
            </a:r>
            <a:r>
              <a:rPr lang="en-US" dirty="0"/>
              <a:t> id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laborum</a:t>
            </a:r>
            <a:r>
              <a:rPr lang="en-US" dirty="0"/>
              <a:t>.“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C132EE70-0572-40E4-A290-ACEF6A59C7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FE38F3BE-1073-46A9-93BE-10F2D5342F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8413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5747" y="1281018"/>
            <a:ext cx="11194840" cy="5026452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>
                <a:solidFill>
                  <a:schemeClr val="tx1"/>
                </a:solidFill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2pPr>
            <a:lvl3pPr marL="548640" indent="-274320">
              <a:lnSpc>
                <a:spcPct val="12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3pPr>
            <a:lvl4pPr marL="822960" indent="-274320">
              <a:lnSpc>
                <a:spcPct val="12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4pPr>
            <a:lvl5pPr indent="-274320">
              <a:lnSpc>
                <a:spcPct val="12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90179" y="6522335"/>
            <a:ext cx="7277590" cy="13080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850" b="0" cap="none" baseline="0"/>
            </a:lvl1pPr>
          </a:lstStyle>
          <a:p>
            <a:pPr lvl="0"/>
            <a:r>
              <a:rPr lang="en-US"/>
              <a:t>Footer: Information Source, Trademark attribution (8.5pts light)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860645" y="6522335"/>
            <a:ext cx="3276179" cy="130805"/>
          </a:xfrm>
          <a:prstGeom prst="rect">
            <a:avLst/>
          </a:prstGeom>
        </p:spPr>
        <p:txBody>
          <a:bodyPr wrap="square">
            <a:noAutofit/>
          </a:bodyPr>
          <a:lstStyle>
            <a:lvl1pPr algn="r">
              <a:defRPr sz="85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onfidential marks all caps (8.5pt ligh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</a:rPr>
              <a:t>Headline in caps (20pt light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07842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_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BCA03C-12FE-40A5-B9ED-38586D724B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881562" y="6356350"/>
            <a:ext cx="2743200" cy="365125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F3D11F1-1028-4CBF-BA8D-72D096D00C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3448549" y="-2"/>
            <a:ext cx="8738898" cy="6858000"/>
          </a:xfrm>
          <a:custGeom>
            <a:avLst/>
            <a:gdLst>
              <a:gd name="connsiteX0" fmla="*/ 0 w 8738898"/>
              <a:gd name="connsiteY0" fmla="*/ 0 h 6858000"/>
              <a:gd name="connsiteX1" fmla="*/ 7015393 w 8738898"/>
              <a:gd name="connsiteY1" fmla="*/ 0 h 6858000"/>
              <a:gd name="connsiteX2" fmla="*/ 8355773 w 8738898"/>
              <a:gd name="connsiteY2" fmla="*/ 1653189 h 6858000"/>
              <a:gd name="connsiteX3" fmla="*/ 8355773 w 8738898"/>
              <a:gd name="connsiteY3" fmla="*/ 3934802 h 6858000"/>
              <a:gd name="connsiteX4" fmla="*/ 5985690 w 8738898"/>
              <a:gd name="connsiteY4" fmla="*/ 6858000 h 6858000"/>
              <a:gd name="connsiteX5" fmla="*/ 0 w 873889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38898" h="6858000">
                <a:moveTo>
                  <a:pt x="0" y="0"/>
                </a:moveTo>
                <a:lnTo>
                  <a:pt x="7015393" y="0"/>
                </a:lnTo>
                <a:lnTo>
                  <a:pt x="8355773" y="1653189"/>
                </a:lnTo>
                <a:cubicBezTo>
                  <a:pt x="8866607" y="2283239"/>
                  <a:pt x="8866607" y="3304752"/>
                  <a:pt x="8355773" y="3934802"/>
                </a:cubicBezTo>
                <a:lnTo>
                  <a:pt x="5985690" y="6858000"/>
                </a:lnTo>
                <a:lnTo>
                  <a:pt x="0" y="6858000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9" name="Freeform 7">
            <a:extLst>
              <a:ext uri="{FF2B5EF4-FFF2-40B4-BE49-F238E27FC236}">
                <a16:creationId xmlns:a16="http://schemas.microsoft.com/office/drawing/2014/main" id="{AF9512CB-441F-4B5E-A0FE-7FF7F37BB36D}"/>
              </a:ext>
            </a:extLst>
          </p:cNvPr>
          <p:cNvSpPr/>
          <p:nvPr userDrawn="1"/>
        </p:nvSpPr>
        <p:spPr>
          <a:xfrm flipH="1">
            <a:off x="3448549" y="0"/>
            <a:ext cx="8738898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72000">
                <a:srgbClr val="D82435">
                  <a:alpha val="11000"/>
                </a:srgbClr>
              </a:gs>
              <a:gs pos="13000">
                <a:srgbClr val="D8243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CEF01BE-9E42-4FE5-9487-09C60C3184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620" y="5841308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0ED1571-09CD-4BAD-9843-28D6F1C4DDFE}"/>
              </a:ext>
            </a:extLst>
          </p:cNvPr>
          <p:cNvCxnSpPr/>
          <p:nvPr userDrawn="1"/>
        </p:nvCxnSpPr>
        <p:spPr>
          <a:xfrm>
            <a:off x="10565140" y="4164118"/>
            <a:ext cx="794544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DA3CF038-BE9C-4CEC-9473-D8B819549F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50115" y="3207400"/>
            <a:ext cx="7261106" cy="886397"/>
          </a:xfrm>
        </p:spPr>
        <p:txBody>
          <a:bodyPr vert="horz" wrap="square" lIns="0" tIns="0" rIns="0" bIns="0" rtlCol="0" anchor="ctr">
            <a:spAutoFit/>
          </a:bodyPr>
          <a:lstStyle>
            <a:lvl1pPr algn="r" rtl="1">
              <a:defRPr lang="en-US" sz="3200" dirty="0">
                <a:solidFill>
                  <a:schemeClr val="bg1"/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D5A7A42-02BD-478F-A339-9EF1ABDE7D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98688" y="4456039"/>
            <a:ext cx="4112533" cy="923330"/>
          </a:xfrm>
        </p:spPr>
        <p:txBody>
          <a:bodyPr vert="horz" wrap="square" lIns="0" tIns="0" rIns="0" bIns="0" rtlCol="0">
            <a:spAutoFit/>
          </a:bodyPr>
          <a:lstStyle>
            <a:lvl1pPr marL="0" indent="0" algn="r" rtl="1">
              <a:buNone/>
              <a:defRPr lang="en-US" sz="2000" dirty="0">
                <a:solidFill>
                  <a:schemeClr val="bg1"/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5F20BA5-BA09-4744-A5C4-E7000B8EE2C0}"/>
              </a:ext>
            </a:extLst>
          </p:cNvPr>
          <p:cNvSpPr txBox="1">
            <a:spLocks/>
          </p:cNvSpPr>
          <p:nvPr userDrawn="1"/>
        </p:nvSpPr>
        <p:spPr>
          <a:xfrm>
            <a:off x="6394620" y="6391866"/>
            <a:ext cx="5657852" cy="172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 rtl="1"/>
            <a:r>
              <a:rPr lang="en-GB">
                <a:solidFill>
                  <a:prstClr val="white"/>
                </a:solidFill>
                <a:ea typeface="Helvetica Neue" charset="0"/>
                <a:cs typeface="Helvetica Neue" charset="0"/>
              </a:rPr>
              <a:t>This document is confidential and any unauthorized use without the permission of Kafa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3752152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888">
          <p15:clr>
            <a:srgbClr val="FBAE40"/>
          </p15:clr>
        </p15:guide>
        <p15:guide id="4" orient="horz" pos="2260">
          <p15:clr>
            <a:srgbClr val="FBAE40"/>
          </p15:clr>
        </p15:guide>
        <p15:guide id="5" pos="168">
          <p15:clr>
            <a:srgbClr val="FBAE40"/>
          </p15:clr>
        </p15:guide>
        <p15:guide id="6" pos="7512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1CF7ECE-168F-4A1D-891E-5479314AA79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2A8495-68FC-463B-B919-DBE944FDC4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055" y="6109144"/>
            <a:ext cx="1073080" cy="45540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8C90FB-41A3-4D31-A98A-54BD8CDC5ECA}"/>
              </a:ext>
            </a:extLst>
          </p:cNvPr>
          <p:cNvCxnSpPr/>
          <p:nvPr userDrawn="1"/>
        </p:nvCxnSpPr>
        <p:spPr>
          <a:xfrm>
            <a:off x="10528185" y="4158152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ooter Placeholder 4">
            <a:extLst>
              <a:ext uri="{FF2B5EF4-FFF2-40B4-BE49-F238E27FC236}">
                <a16:creationId xmlns:a16="http://schemas.microsoft.com/office/drawing/2014/main" id="{05391945-27E2-403F-A98A-D65B2D2D2560}"/>
              </a:ext>
            </a:extLst>
          </p:cNvPr>
          <p:cNvSpPr txBox="1">
            <a:spLocks/>
          </p:cNvSpPr>
          <p:nvPr userDrawn="1"/>
        </p:nvSpPr>
        <p:spPr>
          <a:xfrm>
            <a:off x="236881" y="319088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/>
              <a:t>CONFIDINTIAL</a:t>
            </a:r>
          </a:p>
        </p:txBody>
      </p:sp>
    </p:spTree>
    <p:extLst>
      <p:ext uri="{BB962C8B-B14F-4D97-AF65-F5344CB8AC3E}">
        <p14:creationId xmlns:p14="http://schemas.microsoft.com/office/powerpoint/2010/main" val="414013337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1CF7ECE-168F-4A1D-891E-5479314AA79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3B88249-034E-4263-B3AA-175A5A181DC1}"/>
              </a:ext>
            </a:extLst>
          </p:cNvPr>
          <p:cNvSpPr/>
          <p:nvPr/>
        </p:nvSpPr>
        <p:spPr>
          <a:xfrm>
            <a:off x="3892658" y="204900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dolor</a:t>
            </a: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 sit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amet</a:t>
            </a:r>
            <a:endParaRPr lang="en-ID" sz="1400">
              <a:solidFill>
                <a:schemeClr val="tx1">
                  <a:lumMod val="85000"/>
                  <a:lumOff val="15000"/>
                </a:schemeClr>
              </a:solidFill>
              <a:latin typeface="Nexa Light" panose="02000000000000000000" pitchFamily="50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3F560F9-70FC-4980-9E87-639680B54FAC}"/>
              </a:ext>
            </a:extLst>
          </p:cNvPr>
          <p:cNvCxnSpPr>
            <a:cxnSpLocks/>
          </p:cNvCxnSpPr>
          <p:nvPr/>
        </p:nvCxnSpPr>
        <p:spPr>
          <a:xfrm flipV="1">
            <a:off x="6289729" y="337807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1471D17F-0F1F-4BDC-AF2B-0CEA53388D48}"/>
              </a:ext>
            </a:extLst>
          </p:cNvPr>
          <p:cNvSpPr/>
          <p:nvPr/>
        </p:nvSpPr>
        <p:spPr>
          <a:xfrm flipH="1">
            <a:off x="3181600" y="128270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>
                <a:solidFill>
                  <a:schemeClr val="bg1"/>
                </a:solidFill>
                <a:latin typeface="Nexa Light" panose="02000000000000000000" pitchFamily="50" charset="0"/>
              </a:rPr>
              <a:t>01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AC0DB41-25E3-4D72-8E13-57268B3BD14A}"/>
              </a:ext>
            </a:extLst>
          </p:cNvPr>
          <p:cNvSpPr/>
          <p:nvPr userDrawn="1"/>
        </p:nvSpPr>
        <p:spPr>
          <a:xfrm>
            <a:off x="8202827" y="204900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02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A2BA25E-0EBA-4780-B760-C6E721831CAE}"/>
              </a:ext>
            </a:extLst>
          </p:cNvPr>
          <p:cNvSpPr/>
          <p:nvPr userDrawn="1"/>
        </p:nvSpPr>
        <p:spPr>
          <a:xfrm>
            <a:off x="3892658" y="933494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dolor</a:t>
            </a: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 sit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amet</a:t>
            </a:r>
            <a:endParaRPr lang="en-ID" sz="1400">
              <a:solidFill>
                <a:schemeClr val="tx1">
                  <a:lumMod val="85000"/>
                  <a:lumOff val="15000"/>
                </a:schemeClr>
              </a:solidFill>
              <a:latin typeface="Nexa Light" panose="02000000000000000000" pitchFamily="50" charset="0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B94C1CB-357C-47F9-B590-5F1BF5DA160C}"/>
              </a:ext>
            </a:extLst>
          </p:cNvPr>
          <p:cNvCxnSpPr>
            <a:cxnSpLocks/>
          </p:cNvCxnSpPr>
          <p:nvPr userDrawn="1"/>
        </p:nvCxnSpPr>
        <p:spPr>
          <a:xfrm flipV="1">
            <a:off x="6289729" y="1066401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id="{DFD15B59-1555-40DE-B6DE-446AE39D9C3E}"/>
              </a:ext>
            </a:extLst>
          </p:cNvPr>
          <p:cNvSpPr/>
          <p:nvPr userDrawn="1"/>
        </p:nvSpPr>
        <p:spPr>
          <a:xfrm flipH="1">
            <a:off x="3181600" y="856864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>
                <a:solidFill>
                  <a:schemeClr val="bg1"/>
                </a:solidFill>
                <a:latin typeface="Nexa Light" panose="02000000000000000000" pitchFamily="50" charset="0"/>
              </a:rPr>
              <a:t>02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906D322-1B2D-4A6C-8044-24426E441F6F}"/>
              </a:ext>
            </a:extLst>
          </p:cNvPr>
          <p:cNvSpPr/>
          <p:nvPr userDrawn="1"/>
        </p:nvSpPr>
        <p:spPr>
          <a:xfrm>
            <a:off x="8202827" y="933494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09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75393E7-386B-4C0B-B826-FDA74970868C}"/>
              </a:ext>
            </a:extLst>
          </p:cNvPr>
          <p:cNvSpPr/>
          <p:nvPr userDrawn="1"/>
        </p:nvSpPr>
        <p:spPr>
          <a:xfrm>
            <a:off x="3892658" y="1738718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dolor</a:t>
            </a: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 sit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amet</a:t>
            </a:r>
            <a:endParaRPr lang="en-ID" sz="1400">
              <a:solidFill>
                <a:schemeClr val="tx1">
                  <a:lumMod val="85000"/>
                  <a:lumOff val="15000"/>
                </a:schemeClr>
              </a:solidFill>
              <a:latin typeface="Nexa Light" panose="02000000000000000000" pitchFamily="50" charset="0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CC803F9-B113-41D6-97B2-23D14AAD09CE}"/>
              </a:ext>
            </a:extLst>
          </p:cNvPr>
          <p:cNvCxnSpPr>
            <a:cxnSpLocks/>
          </p:cNvCxnSpPr>
          <p:nvPr userDrawn="1"/>
        </p:nvCxnSpPr>
        <p:spPr>
          <a:xfrm flipV="1">
            <a:off x="6289729" y="1871625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AACB8F17-1054-4472-BA39-BDF142CA2935}"/>
              </a:ext>
            </a:extLst>
          </p:cNvPr>
          <p:cNvSpPr/>
          <p:nvPr userDrawn="1"/>
        </p:nvSpPr>
        <p:spPr>
          <a:xfrm flipH="1">
            <a:off x="3181600" y="1662088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>
                <a:solidFill>
                  <a:schemeClr val="bg1"/>
                </a:solidFill>
                <a:latin typeface="Nexa Light" panose="02000000000000000000" pitchFamily="50" charset="0"/>
              </a:rPr>
              <a:t>03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B3635AC-764D-4DDA-8700-61E5703AD807}"/>
              </a:ext>
            </a:extLst>
          </p:cNvPr>
          <p:cNvSpPr/>
          <p:nvPr userDrawn="1"/>
        </p:nvSpPr>
        <p:spPr>
          <a:xfrm>
            <a:off x="8202827" y="1738718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10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AC8D26E-7435-4384-88FB-EA0C3DD3B3E6}"/>
              </a:ext>
            </a:extLst>
          </p:cNvPr>
          <p:cNvSpPr/>
          <p:nvPr userDrawn="1"/>
        </p:nvSpPr>
        <p:spPr>
          <a:xfrm>
            <a:off x="3892658" y="2541557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dolor</a:t>
            </a: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 sit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amet</a:t>
            </a:r>
            <a:endParaRPr lang="en-ID" sz="1400">
              <a:solidFill>
                <a:schemeClr val="tx1">
                  <a:lumMod val="85000"/>
                  <a:lumOff val="15000"/>
                </a:schemeClr>
              </a:solidFill>
              <a:latin typeface="Nexa Light" panose="02000000000000000000" pitchFamily="50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C9E4BEE1-B026-44DC-9994-CE8C1BD82331}"/>
              </a:ext>
            </a:extLst>
          </p:cNvPr>
          <p:cNvCxnSpPr>
            <a:cxnSpLocks/>
          </p:cNvCxnSpPr>
          <p:nvPr userDrawn="1"/>
        </p:nvCxnSpPr>
        <p:spPr>
          <a:xfrm flipV="1">
            <a:off x="6289729" y="2674464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65E04E8C-699C-4A3F-9609-CADEBAD36BE5}"/>
              </a:ext>
            </a:extLst>
          </p:cNvPr>
          <p:cNvSpPr/>
          <p:nvPr userDrawn="1"/>
        </p:nvSpPr>
        <p:spPr>
          <a:xfrm flipH="1">
            <a:off x="3181600" y="2464927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>
                <a:solidFill>
                  <a:schemeClr val="bg1"/>
                </a:solidFill>
                <a:latin typeface="Nexa Light" panose="02000000000000000000" pitchFamily="50" charset="0"/>
              </a:rPr>
              <a:t>04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432525C1-0231-4C6D-9158-19373526434A}"/>
              </a:ext>
            </a:extLst>
          </p:cNvPr>
          <p:cNvSpPr/>
          <p:nvPr userDrawn="1"/>
        </p:nvSpPr>
        <p:spPr>
          <a:xfrm>
            <a:off x="8202827" y="2542505"/>
            <a:ext cx="320996" cy="26391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15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DD384EA-96D8-4D2C-ADCD-1C760E727635}"/>
              </a:ext>
            </a:extLst>
          </p:cNvPr>
          <p:cNvSpPr/>
          <p:nvPr userDrawn="1"/>
        </p:nvSpPr>
        <p:spPr>
          <a:xfrm>
            <a:off x="3892658" y="3344396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dolor</a:t>
            </a: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 sit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amet</a:t>
            </a:r>
            <a:endParaRPr lang="en-ID" sz="1400">
              <a:solidFill>
                <a:schemeClr val="tx1">
                  <a:lumMod val="85000"/>
                  <a:lumOff val="15000"/>
                </a:schemeClr>
              </a:solidFill>
              <a:latin typeface="Nexa Light" panose="02000000000000000000" pitchFamily="50" charset="0"/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3E73B1CF-DFD0-49F9-B3CC-71D272219113}"/>
              </a:ext>
            </a:extLst>
          </p:cNvPr>
          <p:cNvCxnSpPr>
            <a:cxnSpLocks/>
          </p:cNvCxnSpPr>
          <p:nvPr userDrawn="1"/>
        </p:nvCxnSpPr>
        <p:spPr>
          <a:xfrm flipV="1">
            <a:off x="6289729" y="3477303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Oval 76">
            <a:extLst>
              <a:ext uri="{FF2B5EF4-FFF2-40B4-BE49-F238E27FC236}">
                <a16:creationId xmlns:a16="http://schemas.microsoft.com/office/drawing/2014/main" id="{2C0AE610-9574-4080-9A8F-B0CFC95D72F6}"/>
              </a:ext>
            </a:extLst>
          </p:cNvPr>
          <p:cNvSpPr/>
          <p:nvPr userDrawn="1"/>
        </p:nvSpPr>
        <p:spPr>
          <a:xfrm flipH="1">
            <a:off x="3181600" y="3267766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>
                <a:solidFill>
                  <a:schemeClr val="bg1"/>
                </a:solidFill>
                <a:latin typeface="Nexa Light" panose="02000000000000000000" pitchFamily="50" charset="0"/>
              </a:rPr>
              <a:t>05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A867231-D8B2-4237-AF87-3DFBBB52A0CC}"/>
              </a:ext>
            </a:extLst>
          </p:cNvPr>
          <p:cNvSpPr/>
          <p:nvPr userDrawn="1"/>
        </p:nvSpPr>
        <p:spPr>
          <a:xfrm>
            <a:off x="8202827" y="3344396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20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90E03B71-463D-4439-A221-DFE09A29633D}"/>
              </a:ext>
            </a:extLst>
          </p:cNvPr>
          <p:cNvCxnSpPr/>
          <p:nvPr userDrawn="1"/>
        </p:nvCxnSpPr>
        <p:spPr>
          <a:xfrm>
            <a:off x="606753" y="4158152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itle 1">
            <a:extLst>
              <a:ext uri="{FF2B5EF4-FFF2-40B4-BE49-F238E27FC236}">
                <a16:creationId xmlns:a16="http://schemas.microsoft.com/office/drawing/2014/main" id="{72554050-8939-4582-96BF-449BEF10488C}"/>
              </a:ext>
            </a:extLst>
          </p:cNvPr>
          <p:cNvSpPr txBox="1">
            <a:spLocks/>
          </p:cNvSpPr>
          <p:nvPr userDrawn="1"/>
        </p:nvSpPr>
        <p:spPr>
          <a:xfrm>
            <a:off x="551738" y="3442527"/>
            <a:ext cx="1783689" cy="4555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200"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ontent</a:t>
            </a:r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18A248D3-96FE-41CA-831F-67FB2678AA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220" y="6109144"/>
            <a:ext cx="1073080" cy="455405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907BF56A-F40E-488F-818B-E13AA8A87343}"/>
              </a:ext>
            </a:extLst>
          </p:cNvPr>
          <p:cNvSpPr txBox="1">
            <a:spLocks/>
          </p:cNvSpPr>
          <p:nvPr userDrawn="1"/>
        </p:nvSpPr>
        <p:spPr>
          <a:xfrm>
            <a:off x="11295586" y="319088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/>
              <a:t>CONFIDINTIAL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3B88249-034E-4263-B3AA-175A5A181DC1}"/>
              </a:ext>
            </a:extLst>
          </p:cNvPr>
          <p:cNvSpPr/>
          <p:nvPr userDrawn="1"/>
        </p:nvSpPr>
        <p:spPr>
          <a:xfrm>
            <a:off x="3892658" y="4094984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dolor</a:t>
            </a: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 sit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amet</a:t>
            </a:r>
            <a:endParaRPr lang="en-ID" sz="1400">
              <a:solidFill>
                <a:schemeClr val="tx1">
                  <a:lumMod val="85000"/>
                  <a:lumOff val="15000"/>
                </a:schemeClr>
              </a:solidFill>
              <a:latin typeface="Nexa Light" panose="02000000000000000000" pitchFamily="50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3F560F9-70FC-4980-9E87-639680B54FAC}"/>
              </a:ext>
            </a:extLst>
          </p:cNvPr>
          <p:cNvCxnSpPr>
            <a:cxnSpLocks/>
          </p:cNvCxnSpPr>
          <p:nvPr userDrawn="1"/>
        </p:nvCxnSpPr>
        <p:spPr>
          <a:xfrm flipV="1">
            <a:off x="6289729" y="4227891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1471D17F-0F1F-4BDC-AF2B-0CEA53388D48}"/>
              </a:ext>
            </a:extLst>
          </p:cNvPr>
          <p:cNvSpPr/>
          <p:nvPr userDrawn="1"/>
        </p:nvSpPr>
        <p:spPr>
          <a:xfrm flipH="1">
            <a:off x="3181600" y="4018354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>
                <a:solidFill>
                  <a:schemeClr val="bg1"/>
                </a:solidFill>
                <a:latin typeface="Nexa Light" panose="02000000000000000000" pitchFamily="50" charset="0"/>
              </a:rPr>
              <a:t>01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AC0DB41-25E3-4D72-8E13-57268B3BD14A}"/>
              </a:ext>
            </a:extLst>
          </p:cNvPr>
          <p:cNvSpPr/>
          <p:nvPr userDrawn="1"/>
        </p:nvSpPr>
        <p:spPr>
          <a:xfrm>
            <a:off x="8202827" y="4094984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02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A2BA25E-0EBA-4780-B760-C6E721831CAE}"/>
              </a:ext>
            </a:extLst>
          </p:cNvPr>
          <p:cNvSpPr/>
          <p:nvPr userDrawn="1"/>
        </p:nvSpPr>
        <p:spPr>
          <a:xfrm>
            <a:off x="3892658" y="4823578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dolor</a:t>
            </a: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 sit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amet</a:t>
            </a:r>
            <a:endParaRPr lang="en-ID" sz="1400">
              <a:solidFill>
                <a:schemeClr val="tx1">
                  <a:lumMod val="85000"/>
                  <a:lumOff val="15000"/>
                </a:schemeClr>
              </a:solidFill>
              <a:latin typeface="Nexa Light" panose="02000000000000000000" pitchFamily="50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B94C1CB-357C-47F9-B590-5F1BF5DA160C}"/>
              </a:ext>
            </a:extLst>
          </p:cNvPr>
          <p:cNvCxnSpPr>
            <a:cxnSpLocks/>
          </p:cNvCxnSpPr>
          <p:nvPr userDrawn="1"/>
        </p:nvCxnSpPr>
        <p:spPr>
          <a:xfrm flipV="1">
            <a:off x="6289729" y="4956485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>
            <a:extLst>
              <a:ext uri="{FF2B5EF4-FFF2-40B4-BE49-F238E27FC236}">
                <a16:creationId xmlns:a16="http://schemas.microsoft.com/office/drawing/2014/main" id="{DFD15B59-1555-40DE-B6DE-446AE39D9C3E}"/>
              </a:ext>
            </a:extLst>
          </p:cNvPr>
          <p:cNvSpPr/>
          <p:nvPr userDrawn="1"/>
        </p:nvSpPr>
        <p:spPr>
          <a:xfrm flipH="1">
            <a:off x="3181600" y="4746948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>
                <a:solidFill>
                  <a:schemeClr val="bg1"/>
                </a:solidFill>
                <a:latin typeface="Nexa Light" panose="02000000000000000000" pitchFamily="50" charset="0"/>
              </a:rPr>
              <a:t>02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906D322-1B2D-4A6C-8044-24426E441F6F}"/>
              </a:ext>
            </a:extLst>
          </p:cNvPr>
          <p:cNvSpPr/>
          <p:nvPr userDrawn="1"/>
        </p:nvSpPr>
        <p:spPr>
          <a:xfrm>
            <a:off x="8202827" y="4823578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09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75393E7-386B-4C0B-B826-FDA74970868C}"/>
              </a:ext>
            </a:extLst>
          </p:cNvPr>
          <p:cNvSpPr/>
          <p:nvPr userDrawn="1"/>
        </p:nvSpPr>
        <p:spPr>
          <a:xfrm>
            <a:off x="3892658" y="5628802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dolor</a:t>
            </a: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 sit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amet</a:t>
            </a:r>
            <a:endParaRPr lang="en-ID" sz="1400">
              <a:solidFill>
                <a:schemeClr val="tx1">
                  <a:lumMod val="85000"/>
                  <a:lumOff val="15000"/>
                </a:schemeClr>
              </a:solidFill>
              <a:latin typeface="Nexa Light" panose="02000000000000000000" pitchFamily="50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6CC803F9-B113-41D6-97B2-23D14AAD09CE}"/>
              </a:ext>
            </a:extLst>
          </p:cNvPr>
          <p:cNvCxnSpPr>
            <a:cxnSpLocks/>
          </p:cNvCxnSpPr>
          <p:nvPr userDrawn="1"/>
        </p:nvCxnSpPr>
        <p:spPr>
          <a:xfrm flipV="1">
            <a:off x="6289729" y="5761709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val 38">
            <a:extLst>
              <a:ext uri="{FF2B5EF4-FFF2-40B4-BE49-F238E27FC236}">
                <a16:creationId xmlns:a16="http://schemas.microsoft.com/office/drawing/2014/main" id="{AACB8F17-1054-4472-BA39-BDF142CA2935}"/>
              </a:ext>
            </a:extLst>
          </p:cNvPr>
          <p:cNvSpPr/>
          <p:nvPr userDrawn="1"/>
        </p:nvSpPr>
        <p:spPr>
          <a:xfrm flipH="1">
            <a:off x="3181600" y="5552172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>
                <a:solidFill>
                  <a:schemeClr val="bg1"/>
                </a:solidFill>
                <a:latin typeface="Nexa Light" panose="02000000000000000000" pitchFamily="50" charset="0"/>
              </a:rPr>
              <a:t>03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B3635AC-764D-4DDA-8700-61E5703AD807}"/>
              </a:ext>
            </a:extLst>
          </p:cNvPr>
          <p:cNvSpPr/>
          <p:nvPr userDrawn="1"/>
        </p:nvSpPr>
        <p:spPr>
          <a:xfrm>
            <a:off x="8202827" y="5628802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10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AC8D26E-7435-4384-88FB-EA0C3DD3B3E6}"/>
              </a:ext>
            </a:extLst>
          </p:cNvPr>
          <p:cNvSpPr/>
          <p:nvPr userDrawn="1"/>
        </p:nvSpPr>
        <p:spPr>
          <a:xfrm>
            <a:off x="3892658" y="6431641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dolor</a:t>
            </a: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 sit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amet</a:t>
            </a:r>
            <a:endParaRPr lang="en-ID" sz="1400">
              <a:solidFill>
                <a:schemeClr val="tx1">
                  <a:lumMod val="85000"/>
                  <a:lumOff val="15000"/>
                </a:schemeClr>
              </a:solidFill>
              <a:latin typeface="Nexa Light" panose="02000000000000000000" pitchFamily="50" charset="0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9E4BEE1-B026-44DC-9994-CE8C1BD82331}"/>
              </a:ext>
            </a:extLst>
          </p:cNvPr>
          <p:cNvCxnSpPr>
            <a:cxnSpLocks/>
          </p:cNvCxnSpPr>
          <p:nvPr userDrawn="1"/>
        </p:nvCxnSpPr>
        <p:spPr>
          <a:xfrm flipV="1">
            <a:off x="6289729" y="6564548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:a16="http://schemas.microsoft.com/office/drawing/2014/main" id="{65E04E8C-699C-4A3F-9609-CADEBAD36BE5}"/>
              </a:ext>
            </a:extLst>
          </p:cNvPr>
          <p:cNvSpPr/>
          <p:nvPr userDrawn="1"/>
        </p:nvSpPr>
        <p:spPr>
          <a:xfrm flipH="1">
            <a:off x="3181600" y="6355011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>
                <a:solidFill>
                  <a:schemeClr val="bg1"/>
                </a:solidFill>
                <a:latin typeface="Nexa Light" panose="02000000000000000000" pitchFamily="50" charset="0"/>
              </a:rPr>
              <a:t>04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32525C1-0231-4C6D-9158-19373526434A}"/>
              </a:ext>
            </a:extLst>
          </p:cNvPr>
          <p:cNvSpPr/>
          <p:nvPr userDrawn="1"/>
        </p:nvSpPr>
        <p:spPr>
          <a:xfrm>
            <a:off x="8202827" y="6432589"/>
            <a:ext cx="320996" cy="26391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329918433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567706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1CF7ECE-168F-4A1D-891E-5479314AA799}"/>
              </a:ext>
            </a:extLst>
          </p:cNvPr>
          <p:cNvSpPr/>
          <p:nvPr userDrawn="1"/>
        </p:nvSpPr>
        <p:spPr>
          <a:xfrm>
            <a:off x="0" y="5528010"/>
            <a:ext cx="12192000" cy="132999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3B88249-034E-4263-B3AA-175A5A181DC1}"/>
              </a:ext>
            </a:extLst>
          </p:cNvPr>
          <p:cNvSpPr/>
          <p:nvPr userDrawn="1"/>
        </p:nvSpPr>
        <p:spPr>
          <a:xfrm>
            <a:off x="3686795" y="1363612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dolor</a:t>
            </a: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 sit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amet</a:t>
            </a:r>
            <a:endParaRPr lang="en-ID" sz="1400">
              <a:solidFill>
                <a:schemeClr val="tx1">
                  <a:lumMod val="85000"/>
                  <a:lumOff val="15000"/>
                </a:schemeClr>
              </a:solidFill>
              <a:latin typeface="Nexa Light" panose="02000000000000000000" pitchFamily="50" charset="0"/>
            </a:endParaRP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90E03B71-463D-4439-A221-DFE09A29633D}"/>
              </a:ext>
            </a:extLst>
          </p:cNvPr>
          <p:cNvCxnSpPr>
            <a:cxnSpLocks/>
          </p:cNvCxnSpPr>
          <p:nvPr userDrawn="1"/>
        </p:nvCxnSpPr>
        <p:spPr>
          <a:xfrm>
            <a:off x="3328956" y="1589234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75C80992-3C2F-4A61-B5F1-2A1A93513FA9}"/>
              </a:ext>
            </a:extLst>
          </p:cNvPr>
          <p:cNvSpPr/>
          <p:nvPr userDrawn="1"/>
        </p:nvSpPr>
        <p:spPr>
          <a:xfrm>
            <a:off x="3273433" y="1285421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02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A2BA25E-0EBA-4780-B760-C6E721831CAE}"/>
              </a:ext>
            </a:extLst>
          </p:cNvPr>
          <p:cNvSpPr/>
          <p:nvPr userDrawn="1"/>
        </p:nvSpPr>
        <p:spPr>
          <a:xfrm>
            <a:off x="3686795" y="2041476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dolor</a:t>
            </a: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 sit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amet</a:t>
            </a:r>
            <a:endParaRPr lang="en-ID" sz="1400">
              <a:solidFill>
                <a:schemeClr val="tx1">
                  <a:lumMod val="85000"/>
                  <a:lumOff val="15000"/>
                </a:schemeClr>
              </a:solidFill>
              <a:latin typeface="Nexa Light" panose="02000000000000000000" pitchFamily="50" charset="0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5FF7385-6E8F-43A7-BBE0-E29C3C64F301}"/>
              </a:ext>
            </a:extLst>
          </p:cNvPr>
          <p:cNvCxnSpPr>
            <a:cxnSpLocks/>
          </p:cNvCxnSpPr>
          <p:nvPr userDrawn="1"/>
        </p:nvCxnSpPr>
        <p:spPr>
          <a:xfrm>
            <a:off x="3328956" y="2271709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0917853E-A7DD-434E-8C6D-D8D7F68D078E}"/>
              </a:ext>
            </a:extLst>
          </p:cNvPr>
          <p:cNvSpPr/>
          <p:nvPr userDrawn="1"/>
        </p:nvSpPr>
        <p:spPr>
          <a:xfrm>
            <a:off x="3273433" y="1967896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09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75393E7-386B-4C0B-B826-FDA74970868C}"/>
              </a:ext>
            </a:extLst>
          </p:cNvPr>
          <p:cNvSpPr/>
          <p:nvPr userDrawn="1"/>
        </p:nvSpPr>
        <p:spPr>
          <a:xfrm>
            <a:off x="3686795" y="2723951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dolor</a:t>
            </a: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 sit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amet</a:t>
            </a:r>
            <a:endParaRPr lang="en-ID" sz="1400">
              <a:solidFill>
                <a:schemeClr val="tx1">
                  <a:lumMod val="85000"/>
                  <a:lumOff val="15000"/>
                </a:schemeClr>
              </a:solidFill>
              <a:latin typeface="Nexa Light" panose="02000000000000000000" pitchFamily="50" charset="0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7C78A87C-FA1C-4313-9F39-70EF328CA848}"/>
              </a:ext>
            </a:extLst>
          </p:cNvPr>
          <p:cNvCxnSpPr>
            <a:cxnSpLocks/>
          </p:cNvCxnSpPr>
          <p:nvPr userDrawn="1"/>
        </p:nvCxnSpPr>
        <p:spPr>
          <a:xfrm>
            <a:off x="3328956" y="2949573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59B14903-6FD1-4CBF-AB9C-888C495E70D0}"/>
              </a:ext>
            </a:extLst>
          </p:cNvPr>
          <p:cNvSpPr/>
          <p:nvPr userDrawn="1"/>
        </p:nvSpPr>
        <p:spPr>
          <a:xfrm>
            <a:off x="3273433" y="2645760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10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AC8D26E-7435-4384-88FB-EA0C3DD3B3E6}"/>
              </a:ext>
            </a:extLst>
          </p:cNvPr>
          <p:cNvSpPr/>
          <p:nvPr userDrawn="1"/>
        </p:nvSpPr>
        <p:spPr>
          <a:xfrm>
            <a:off x="3686795" y="3408653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dolor</a:t>
            </a: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 sit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amet</a:t>
            </a:r>
            <a:endParaRPr lang="en-ID" sz="1400">
              <a:solidFill>
                <a:schemeClr val="tx1">
                  <a:lumMod val="85000"/>
                  <a:lumOff val="15000"/>
                </a:schemeClr>
              </a:solidFill>
              <a:latin typeface="Nexa Light" panose="02000000000000000000" pitchFamily="50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9C77D53-37A9-4590-8A53-03C16877768F}"/>
              </a:ext>
            </a:extLst>
          </p:cNvPr>
          <p:cNvCxnSpPr>
            <a:cxnSpLocks/>
          </p:cNvCxnSpPr>
          <p:nvPr userDrawn="1"/>
        </p:nvCxnSpPr>
        <p:spPr>
          <a:xfrm>
            <a:off x="3328956" y="3632048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FD85EB36-432B-4804-A836-F1F4E46423D3}"/>
              </a:ext>
            </a:extLst>
          </p:cNvPr>
          <p:cNvSpPr/>
          <p:nvPr userDrawn="1"/>
        </p:nvSpPr>
        <p:spPr>
          <a:xfrm>
            <a:off x="3273433" y="3328235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15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DD384EA-96D8-4D2C-ADCD-1C760E727635}"/>
              </a:ext>
            </a:extLst>
          </p:cNvPr>
          <p:cNvSpPr/>
          <p:nvPr userDrawn="1"/>
        </p:nvSpPr>
        <p:spPr>
          <a:xfrm>
            <a:off x="3686795" y="4091127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dolor</a:t>
            </a: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 sit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amet</a:t>
            </a:r>
            <a:endParaRPr lang="en-ID" sz="1400">
              <a:solidFill>
                <a:schemeClr val="tx1">
                  <a:lumMod val="85000"/>
                  <a:lumOff val="15000"/>
                </a:schemeClr>
              </a:solidFill>
              <a:latin typeface="Nexa Light" panose="02000000000000000000" pitchFamily="50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8F5989B-571E-486A-9CE6-A20BF85E952E}"/>
              </a:ext>
            </a:extLst>
          </p:cNvPr>
          <p:cNvCxnSpPr>
            <a:cxnSpLocks/>
          </p:cNvCxnSpPr>
          <p:nvPr userDrawn="1"/>
        </p:nvCxnSpPr>
        <p:spPr>
          <a:xfrm>
            <a:off x="3328956" y="4316749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CC897288-85DF-4FD1-AC2B-1D686054D498}"/>
              </a:ext>
            </a:extLst>
          </p:cNvPr>
          <p:cNvSpPr/>
          <p:nvPr userDrawn="1"/>
        </p:nvSpPr>
        <p:spPr>
          <a:xfrm>
            <a:off x="3273433" y="4012936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20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46315D05-0A44-4D40-8015-FFB243B6F888}"/>
              </a:ext>
            </a:extLst>
          </p:cNvPr>
          <p:cNvSpPr/>
          <p:nvPr/>
        </p:nvSpPr>
        <p:spPr>
          <a:xfrm>
            <a:off x="7716184" y="1363612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dolor</a:t>
            </a: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 sit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amet</a:t>
            </a:r>
            <a:endParaRPr lang="en-ID" sz="1400">
              <a:solidFill>
                <a:schemeClr val="tx1">
                  <a:lumMod val="85000"/>
                  <a:lumOff val="15000"/>
                </a:schemeClr>
              </a:solidFill>
              <a:latin typeface="Nexa Light" panose="02000000000000000000" pitchFamily="50" charset="0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F7C86F9B-E855-4585-9651-9E2D000AD98D}"/>
              </a:ext>
            </a:extLst>
          </p:cNvPr>
          <p:cNvCxnSpPr>
            <a:cxnSpLocks/>
          </p:cNvCxnSpPr>
          <p:nvPr userDrawn="1"/>
        </p:nvCxnSpPr>
        <p:spPr>
          <a:xfrm>
            <a:off x="7358345" y="1589234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A00D27EC-8A67-4A1B-AA51-A40BFE81A5A5}"/>
              </a:ext>
            </a:extLst>
          </p:cNvPr>
          <p:cNvSpPr/>
          <p:nvPr userDrawn="1"/>
        </p:nvSpPr>
        <p:spPr>
          <a:xfrm>
            <a:off x="7302822" y="1285421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02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E7EAEEA-E0E7-4B3D-B304-332CA0F80B87}"/>
              </a:ext>
            </a:extLst>
          </p:cNvPr>
          <p:cNvSpPr/>
          <p:nvPr userDrawn="1"/>
        </p:nvSpPr>
        <p:spPr>
          <a:xfrm>
            <a:off x="7716184" y="2041476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dolor</a:t>
            </a: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 sit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amet</a:t>
            </a:r>
            <a:endParaRPr lang="en-ID" sz="1400">
              <a:solidFill>
                <a:schemeClr val="tx1">
                  <a:lumMod val="85000"/>
                  <a:lumOff val="15000"/>
                </a:schemeClr>
              </a:solidFill>
              <a:latin typeface="Nexa Light" panose="02000000000000000000" pitchFamily="50" charset="0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AF75AB56-E43E-447B-B4B3-9B19EF1F6CB5}"/>
              </a:ext>
            </a:extLst>
          </p:cNvPr>
          <p:cNvCxnSpPr>
            <a:cxnSpLocks/>
          </p:cNvCxnSpPr>
          <p:nvPr userDrawn="1"/>
        </p:nvCxnSpPr>
        <p:spPr>
          <a:xfrm>
            <a:off x="7358345" y="2271709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DDEAD6D4-CD0E-47BC-AB9D-161BB80BB305}"/>
              </a:ext>
            </a:extLst>
          </p:cNvPr>
          <p:cNvSpPr/>
          <p:nvPr userDrawn="1"/>
        </p:nvSpPr>
        <p:spPr>
          <a:xfrm>
            <a:off x="7302822" y="1967896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09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A21CEED-F88E-40D7-B1E8-F6898711C6D3}"/>
              </a:ext>
            </a:extLst>
          </p:cNvPr>
          <p:cNvSpPr/>
          <p:nvPr userDrawn="1"/>
        </p:nvSpPr>
        <p:spPr>
          <a:xfrm>
            <a:off x="7716184" y="2723951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dolor</a:t>
            </a: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 sit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amet</a:t>
            </a:r>
            <a:endParaRPr lang="en-ID" sz="1400">
              <a:solidFill>
                <a:schemeClr val="tx1">
                  <a:lumMod val="85000"/>
                  <a:lumOff val="15000"/>
                </a:schemeClr>
              </a:solidFill>
              <a:latin typeface="Nexa Light" panose="02000000000000000000" pitchFamily="50" charset="0"/>
            </a:endParaRP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593CA93-F28E-40F7-A876-7511C5570A06}"/>
              </a:ext>
            </a:extLst>
          </p:cNvPr>
          <p:cNvCxnSpPr>
            <a:cxnSpLocks/>
          </p:cNvCxnSpPr>
          <p:nvPr userDrawn="1"/>
        </p:nvCxnSpPr>
        <p:spPr>
          <a:xfrm>
            <a:off x="7358345" y="2949573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EE7D47D6-F4E8-4F27-AA83-A907D1E5C464}"/>
              </a:ext>
            </a:extLst>
          </p:cNvPr>
          <p:cNvSpPr/>
          <p:nvPr userDrawn="1"/>
        </p:nvSpPr>
        <p:spPr>
          <a:xfrm>
            <a:off x="7302822" y="2645760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10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FFB85D95-23AE-446D-9940-622EC9E9C2F2}"/>
              </a:ext>
            </a:extLst>
          </p:cNvPr>
          <p:cNvSpPr/>
          <p:nvPr userDrawn="1"/>
        </p:nvSpPr>
        <p:spPr>
          <a:xfrm>
            <a:off x="7716184" y="3408653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dolor</a:t>
            </a: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 sit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amet</a:t>
            </a:r>
            <a:endParaRPr lang="en-ID" sz="1400">
              <a:solidFill>
                <a:schemeClr val="tx1">
                  <a:lumMod val="85000"/>
                  <a:lumOff val="15000"/>
                </a:schemeClr>
              </a:solidFill>
              <a:latin typeface="Nexa Light" panose="02000000000000000000" pitchFamily="50" charset="0"/>
            </a:endParaRP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C3B4C061-FFB8-4FF4-AAEF-6999BA2584BE}"/>
              </a:ext>
            </a:extLst>
          </p:cNvPr>
          <p:cNvCxnSpPr>
            <a:cxnSpLocks/>
          </p:cNvCxnSpPr>
          <p:nvPr userDrawn="1"/>
        </p:nvCxnSpPr>
        <p:spPr>
          <a:xfrm>
            <a:off x="7358345" y="3632048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F4D9C181-9FE9-4EAD-B3F7-F9F11D9E0546}"/>
              </a:ext>
            </a:extLst>
          </p:cNvPr>
          <p:cNvSpPr/>
          <p:nvPr userDrawn="1"/>
        </p:nvSpPr>
        <p:spPr>
          <a:xfrm>
            <a:off x="7302822" y="3328235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15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EB7FF55A-7557-494D-A2E2-8BD2ECCC03BD}"/>
              </a:ext>
            </a:extLst>
          </p:cNvPr>
          <p:cNvSpPr/>
          <p:nvPr userDrawn="1"/>
        </p:nvSpPr>
        <p:spPr>
          <a:xfrm>
            <a:off x="7716184" y="4091127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dolor</a:t>
            </a:r>
            <a:r>
              <a:rPr lang="en-ID" sz="14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 sit </a:t>
            </a:r>
            <a:r>
              <a:rPr lang="en-ID" sz="1400" err="1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amet</a:t>
            </a:r>
            <a:endParaRPr lang="en-ID" sz="1400">
              <a:solidFill>
                <a:schemeClr val="tx1">
                  <a:lumMod val="85000"/>
                  <a:lumOff val="15000"/>
                </a:schemeClr>
              </a:solidFill>
              <a:latin typeface="Nexa Light" panose="02000000000000000000" pitchFamily="50" charset="0"/>
            </a:endParaRP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8C4B7284-1BD2-461F-8553-16230AAB5013}"/>
              </a:ext>
            </a:extLst>
          </p:cNvPr>
          <p:cNvCxnSpPr>
            <a:cxnSpLocks/>
          </p:cNvCxnSpPr>
          <p:nvPr userDrawn="1"/>
        </p:nvCxnSpPr>
        <p:spPr>
          <a:xfrm>
            <a:off x="7358345" y="4316749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DB8A3576-EF2A-43EB-A86F-92450F9469DD}"/>
              </a:ext>
            </a:extLst>
          </p:cNvPr>
          <p:cNvSpPr/>
          <p:nvPr userDrawn="1"/>
        </p:nvSpPr>
        <p:spPr>
          <a:xfrm>
            <a:off x="7302822" y="4012936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20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EE7AA7D-5EB6-4AA2-915B-D16BDC1F4B02}"/>
              </a:ext>
            </a:extLst>
          </p:cNvPr>
          <p:cNvCxnSpPr/>
          <p:nvPr userDrawn="1"/>
        </p:nvCxnSpPr>
        <p:spPr>
          <a:xfrm>
            <a:off x="606753" y="3909834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itle 1">
            <a:extLst>
              <a:ext uri="{FF2B5EF4-FFF2-40B4-BE49-F238E27FC236}">
                <a16:creationId xmlns:a16="http://schemas.microsoft.com/office/drawing/2014/main" id="{31F89735-73E5-442B-884A-95E8DA0D74E4}"/>
              </a:ext>
            </a:extLst>
          </p:cNvPr>
          <p:cNvSpPr txBox="1">
            <a:spLocks/>
          </p:cNvSpPr>
          <p:nvPr userDrawn="1"/>
        </p:nvSpPr>
        <p:spPr>
          <a:xfrm>
            <a:off x="551738" y="3194209"/>
            <a:ext cx="1783689" cy="4555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200"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ontent</a:t>
            </a: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9E290001-EF7A-4828-B89D-A96171AEE2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220" y="363125"/>
            <a:ext cx="1073080" cy="455405"/>
          </a:xfrm>
          <a:prstGeom prst="rect">
            <a:avLst/>
          </a:prstGeom>
          <a:noFill/>
          <a:ln>
            <a:noFill/>
          </a:ln>
        </p:spPr>
      </p:pic>
      <p:sp>
        <p:nvSpPr>
          <p:cNvPr id="76" name="Rectangle 75">
            <a:extLst>
              <a:ext uri="{FF2B5EF4-FFF2-40B4-BE49-F238E27FC236}">
                <a16:creationId xmlns:a16="http://schemas.microsoft.com/office/drawing/2014/main" id="{0CDDDA25-F1DA-46F7-B07A-26DAE09F7311}"/>
              </a:ext>
            </a:extLst>
          </p:cNvPr>
          <p:cNvSpPr/>
          <p:nvPr userDrawn="1"/>
        </p:nvSpPr>
        <p:spPr>
          <a:xfrm>
            <a:off x="3332799" y="5995815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>
                <a:solidFill>
                  <a:srgbClr val="D82435"/>
                </a:solidFill>
                <a:latin typeface="Nexa Bold" panose="02000000000000000000" pitchFamily="50" charset="0"/>
              </a:rPr>
              <a:t>APPENDIX A  </a:t>
            </a:r>
            <a:r>
              <a:rPr lang="en-ID" sz="1100">
                <a:solidFill>
                  <a:srgbClr val="D82435"/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0BBD00E-630D-4505-84EF-235136F3C60C}"/>
              </a:ext>
            </a:extLst>
          </p:cNvPr>
          <p:cNvSpPr/>
          <p:nvPr userDrawn="1"/>
        </p:nvSpPr>
        <p:spPr>
          <a:xfrm>
            <a:off x="3332799" y="6291366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>
                <a:solidFill>
                  <a:srgbClr val="D82435"/>
                </a:solidFill>
                <a:latin typeface="Nexa Bold" panose="02000000000000000000" pitchFamily="50" charset="0"/>
              </a:rPr>
              <a:t>APPENDIX B  </a:t>
            </a:r>
            <a:r>
              <a:rPr lang="en-ID" sz="1100">
                <a:solidFill>
                  <a:srgbClr val="D82435"/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464CC38A-8E58-42FB-A004-DCDDAC1F5BE0}"/>
              </a:ext>
            </a:extLst>
          </p:cNvPr>
          <p:cNvSpPr/>
          <p:nvPr userDrawn="1"/>
        </p:nvSpPr>
        <p:spPr>
          <a:xfrm>
            <a:off x="7312742" y="5993699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>
                <a:solidFill>
                  <a:srgbClr val="D82435"/>
                </a:solidFill>
                <a:latin typeface="Nexa Bold" panose="02000000000000000000" pitchFamily="50" charset="0"/>
              </a:rPr>
              <a:t>APPENDIX C  </a:t>
            </a:r>
            <a:r>
              <a:rPr lang="en-ID" sz="1100">
                <a:solidFill>
                  <a:srgbClr val="D82435"/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C85CECD-FD07-4B8A-BA45-05F0E8718B0D}"/>
              </a:ext>
            </a:extLst>
          </p:cNvPr>
          <p:cNvSpPr/>
          <p:nvPr userDrawn="1"/>
        </p:nvSpPr>
        <p:spPr>
          <a:xfrm>
            <a:off x="7312742" y="6289249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>
                <a:solidFill>
                  <a:srgbClr val="D82435"/>
                </a:solidFill>
                <a:latin typeface="Nexa Bold" panose="02000000000000000000" pitchFamily="50" charset="0"/>
              </a:rPr>
              <a:t>APPENDIX D  </a:t>
            </a:r>
            <a:r>
              <a:rPr lang="en-ID" sz="1100" b="0">
                <a:solidFill>
                  <a:srgbClr val="D82435"/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5AB63BEF-B171-418D-AEC9-537BFB0D7E15}"/>
              </a:ext>
            </a:extLst>
          </p:cNvPr>
          <p:cNvSpPr/>
          <p:nvPr userDrawn="1"/>
        </p:nvSpPr>
        <p:spPr>
          <a:xfrm>
            <a:off x="4355142" y="5995815"/>
            <a:ext cx="184630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F1FF25D-E6AB-49C5-8D12-5E5CDF76A078}"/>
              </a:ext>
            </a:extLst>
          </p:cNvPr>
          <p:cNvSpPr/>
          <p:nvPr userDrawn="1"/>
        </p:nvSpPr>
        <p:spPr>
          <a:xfrm>
            <a:off x="4355141" y="6291365"/>
            <a:ext cx="1846303" cy="2073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06B480D9-4CB4-4A86-BE49-CDE3D1C0469A}"/>
              </a:ext>
            </a:extLst>
          </p:cNvPr>
          <p:cNvSpPr/>
          <p:nvPr userDrawn="1"/>
        </p:nvSpPr>
        <p:spPr>
          <a:xfrm>
            <a:off x="8335084" y="5993698"/>
            <a:ext cx="1846303" cy="2073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7E96864E-A4D1-4B54-AA86-267F4EC0C780}"/>
              </a:ext>
            </a:extLst>
          </p:cNvPr>
          <p:cNvSpPr/>
          <p:nvPr userDrawn="1"/>
        </p:nvSpPr>
        <p:spPr>
          <a:xfrm>
            <a:off x="8335084" y="6289248"/>
            <a:ext cx="1846303" cy="2073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48" name="Footer Placeholder 4">
            <a:extLst>
              <a:ext uri="{FF2B5EF4-FFF2-40B4-BE49-F238E27FC236}">
                <a16:creationId xmlns:a16="http://schemas.microsoft.com/office/drawing/2014/main" id="{BBEFAD99-8805-49F8-BCDE-765A5F378CAC}"/>
              </a:ext>
            </a:extLst>
          </p:cNvPr>
          <p:cNvSpPr txBox="1">
            <a:spLocks/>
          </p:cNvSpPr>
          <p:nvPr userDrawn="1"/>
        </p:nvSpPr>
        <p:spPr>
          <a:xfrm>
            <a:off x="11295586" y="6341710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/>
              <a:t>CONFIDINTIAL</a:t>
            </a:r>
          </a:p>
        </p:txBody>
      </p:sp>
    </p:spTree>
    <p:extLst>
      <p:ext uri="{BB962C8B-B14F-4D97-AF65-F5344CB8AC3E}">
        <p14:creationId xmlns:p14="http://schemas.microsoft.com/office/powerpoint/2010/main" val="401240143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6">
            <a:extLst>
              <a:ext uri="{FF2B5EF4-FFF2-40B4-BE49-F238E27FC236}">
                <a16:creationId xmlns:a16="http://schemas.microsoft.com/office/drawing/2014/main" id="{A9E1E493-8350-430A-877B-88213893A13A}"/>
              </a:ext>
            </a:extLst>
          </p:cNvPr>
          <p:cNvSpPr/>
          <p:nvPr userDrawn="1"/>
        </p:nvSpPr>
        <p:spPr>
          <a:xfrm flipH="1">
            <a:off x="3453102" y="0"/>
            <a:ext cx="8738898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2A8495-68FC-463B-B919-DBE944FDC4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013" y="5841308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B02EE97-7C08-42D0-AC49-C893539184F9}"/>
              </a:ext>
            </a:extLst>
          </p:cNvPr>
          <p:cNvCxnSpPr/>
          <p:nvPr userDrawn="1"/>
        </p:nvCxnSpPr>
        <p:spPr>
          <a:xfrm>
            <a:off x="11130756" y="4164118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1">
            <a:extLst>
              <a:ext uri="{FF2B5EF4-FFF2-40B4-BE49-F238E27FC236}">
                <a16:creationId xmlns:a16="http://schemas.microsoft.com/office/drawing/2014/main" id="{82EEDA8E-A90A-4D44-825A-05C74F95F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5" y="2889205"/>
            <a:ext cx="8543925" cy="512448"/>
          </a:xfrm>
        </p:spPr>
        <p:txBody>
          <a:bodyPr vert="horz" lIns="0" tIns="0" rIns="0" bIns="0" rtlCol="0" anchor="t">
            <a:spAutoFit/>
          </a:bodyPr>
          <a:lstStyle>
            <a:lvl1pPr algn="r" rtl="1">
              <a:defRPr lang="en-US"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ABA04E7-C09E-472D-A5A0-6C553F17BE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81375" y="3654773"/>
            <a:ext cx="8543925" cy="415498"/>
          </a:xfrm>
        </p:spPr>
        <p:txBody>
          <a:bodyPr vert="horz" wrap="square" lIns="0" tIns="0" rIns="0" bIns="0" rtlCol="0">
            <a:spAutoFit/>
          </a:bodyPr>
          <a:lstStyle>
            <a:lvl1pPr marL="0" indent="0" algn="r" rtl="1">
              <a:buNone/>
              <a:defRPr lang="en-US" sz="1800" smtClean="0">
                <a:solidFill>
                  <a:srgbClr val="D82435"/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197051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0A554A07-6BDD-490E-B32C-6F96CE61FF7D}"/>
              </a:ext>
            </a:extLst>
          </p:cNvPr>
          <p:cNvGrpSpPr/>
          <p:nvPr userDrawn="1"/>
        </p:nvGrpSpPr>
        <p:grpSpPr>
          <a:xfrm flipH="1">
            <a:off x="0" y="0"/>
            <a:ext cx="12215937" cy="6960075"/>
            <a:chOff x="1" y="-30631"/>
            <a:chExt cx="10049567" cy="672161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21C32B9-3999-4416-86E2-A65BAA169FB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" y="-30630"/>
              <a:ext cx="10049566" cy="6709681"/>
            </a:xfrm>
            <a:prstGeom prst="rect">
              <a:avLst/>
            </a:prstGeom>
          </p:spPr>
        </p:pic>
        <p:sp>
          <p:nvSpPr>
            <p:cNvPr id="9" name="Freeform 16">
              <a:extLst>
                <a:ext uri="{FF2B5EF4-FFF2-40B4-BE49-F238E27FC236}">
                  <a16:creationId xmlns:a16="http://schemas.microsoft.com/office/drawing/2014/main" id="{FEB2627B-B1B7-43AF-847E-A00AAF1B5FDC}"/>
                </a:ext>
              </a:extLst>
            </p:cNvPr>
            <p:cNvSpPr/>
            <p:nvPr userDrawn="1"/>
          </p:nvSpPr>
          <p:spPr>
            <a:xfrm>
              <a:off x="1" y="-30631"/>
              <a:ext cx="9283396" cy="6709681"/>
            </a:xfrm>
            <a:custGeom>
              <a:avLst/>
              <a:gdLst>
                <a:gd name="connsiteX0" fmla="*/ 0 w 10778328"/>
                <a:gd name="connsiteY0" fmla="*/ 0 h 6858000"/>
                <a:gd name="connsiteX1" fmla="*/ 8652602 w 10778328"/>
                <a:gd name="connsiteY1" fmla="*/ 0 h 6858000"/>
                <a:gd name="connsiteX2" fmla="*/ 10305791 w 10778328"/>
                <a:gd name="connsiteY2" fmla="*/ 1653189 h 6858000"/>
                <a:gd name="connsiteX3" fmla="*/ 10305791 w 10778328"/>
                <a:gd name="connsiteY3" fmla="*/ 3934802 h 6858000"/>
                <a:gd name="connsiteX4" fmla="*/ 7382593 w 10778328"/>
                <a:gd name="connsiteY4" fmla="*/ 6858000 h 6858000"/>
                <a:gd name="connsiteX5" fmla="*/ 0 w 10778328"/>
                <a:gd name="connsiteY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78328" h="6858000">
                  <a:moveTo>
                    <a:pt x="0" y="0"/>
                  </a:moveTo>
                  <a:lnTo>
                    <a:pt x="8652602" y="0"/>
                  </a:lnTo>
                  <a:lnTo>
                    <a:pt x="10305791" y="1653189"/>
                  </a:lnTo>
                  <a:cubicBezTo>
                    <a:pt x="10935841" y="2283239"/>
                    <a:pt x="10935841" y="3304752"/>
                    <a:pt x="10305791" y="3934802"/>
                  </a:cubicBezTo>
                  <a:lnTo>
                    <a:pt x="7382593" y="6858000"/>
                  </a:lnTo>
                  <a:lnTo>
                    <a:pt x="0" y="6858000"/>
                  </a:lnTo>
                  <a:close/>
                </a:path>
              </a:pathLst>
            </a:custGeom>
            <a:gradFill>
              <a:gsLst>
                <a:gs pos="80000">
                  <a:schemeClr val="bg1"/>
                </a:gs>
                <a:gs pos="21000">
                  <a:schemeClr val="bg1">
                    <a:alpha val="44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  <p:sp>
          <p:nvSpPr>
            <p:cNvPr id="10" name="Freeform 17">
              <a:extLst>
                <a:ext uri="{FF2B5EF4-FFF2-40B4-BE49-F238E27FC236}">
                  <a16:creationId xmlns:a16="http://schemas.microsoft.com/office/drawing/2014/main" id="{177BD577-9DD5-431F-A945-B479AFDA80FD}"/>
                </a:ext>
              </a:extLst>
            </p:cNvPr>
            <p:cNvSpPr/>
            <p:nvPr userDrawn="1"/>
          </p:nvSpPr>
          <p:spPr>
            <a:xfrm>
              <a:off x="1128351" y="-30630"/>
              <a:ext cx="8921217" cy="6721615"/>
            </a:xfrm>
            <a:custGeom>
              <a:avLst/>
              <a:gdLst>
                <a:gd name="connsiteX0" fmla="*/ 86343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7367004 w 12192000"/>
                <a:gd name="connsiteY3" fmla="*/ 6858000 h 6858000"/>
                <a:gd name="connsiteX4" fmla="*/ 10284029 w 12192000"/>
                <a:gd name="connsiteY4" fmla="*/ 3934802 h 6858000"/>
                <a:gd name="connsiteX5" fmla="*/ 10284029 w 12192000"/>
                <a:gd name="connsiteY5" fmla="*/ 1653189 h 6858000"/>
                <a:gd name="connsiteX6" fmla="*/ 0 w 12192000"/>
                <a:gd name="connsiteY6" fmla="*/ 0 h 6858000"/>
                <a:gd name="connsiteX7" fmla="*/ 1 w 12192000"/>
                <a:gd name="connsiteY7" fmla="*/ 0 h 6858000"/>
                <a:gd name="connsiteX8" fmla="*/ 1 w 12192000"/>
                <a:gd name="connsiteY8" fmla="*/ 6858000 h 6858000"/>
                <a:gd name="connsiteX9" fmla="*/ 0 w 12192000"/>
                <a:gd name="connsiteY9" fmla="*/ 6858000 h 6858000"/>
                <a:gd name="connsiteX0" fmla="*/ 86343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7186405 w 12192000"/>
                <a:gd name="connsiteY3" fmla="*/ 6858000 h 6858000"/>
                <a:gd name="connsiteX4" fmla="*/ 10284029 w 12192000"/>
                <a:gd name="connsiteY4" fmla="*/ 3934802 h 6858000"/>
                <a:gd name="connsiteX5" fmla="*/ 10284029 w 12192000"/>
                <a:gd name="connsiteY5" fmla="*/ 1653189 h 6858000"/>
                <a:gd name="connsiteX6" fmla="*/ 8634331 w 12192000"/>
                <a:gd name="connsiteY6" fmla="*/ 0 h 6858000"/>
                <a:gd name="connsiteX7" fmla="*/ 0 w 12192000"/>
                <a:gd name="connsiteY7" fmla="*/ 0 h 6858000"/>
                <a:gd name="connsiteX8" fmla="*/ 1 w 12192000"/>
                <a:gd name="connsiteY8" fmla="*/ 0 h 6858000"/>
                <a:gd name="connsiteX9" fmla="*/ 1 w 12192000"/>
                <a:gd name="connsiteY9" fmla="*/ 6858000 h 6858000"/>
                <a:gd name="connsiteX10" fmla="*/ 0 w 12192000"/>
                <a:gd name="connsiteY10" fmla="*/ 6858000 h 6858000"/>
                <a:gd name="connsiteX11" fmla="*/ 0 w 12192000"/>
                <a:gd name="connsiteY11" fmla="*/ 0 h 6858000"/>
                <a:gd name="connsiteX0" fmla="*/ 8634331 w 12192000"/>
                <a:gd name="connsiteY0" fmla="*/ 0 h 6870197"/>
                <a:gd name="connsiteX1" fmla="*/ 12192000 w 12192000"/>
                <a:gd name="connsiteY1" fmla="*/ 0 h 6870197"/>
                <a:gd name="connsiteX2" fmla="*/ 12192000 w 12192000"/>
                <a:gd name="connsiteY2" fmla="*/ 6858000 h 6870197"/>
                <a:gd name="connsiteX3" fmla="*/ 7103051 w 12192000"/>
                <a:gd name="connsiteY3" fmla="*/ 6870197 h 6870197"/>
                <a:gd name="connsiteX4" fmla="*/ 10284029 w 12192000"/>
                <a:gd name="connsiteY4" fmla="*/ 3934802 h 6870197"/>
                <a:gd name="connsiteX5" fmla="*/ 10284029 w 12192000"/>
                <a:gd name="connsiteY5" fmla="*/ 1653189 h 6870197"/>
                <a:gd name="connsiteX6" fmla="*/ 8634331 w 12192000"/>
                <a:gd name="connsiteY6" fmla="*/ 0 h 6870197"/>
                <a:gd name="connsiteX7" fmla="*/ 0 w 12192000"/>
                <a:gd name="connsiteY7" fmla="*/ 0 h 6870197"/>
                <a:gd name="connsiteX8" fmla="*/ 1 w 12192000"/>
                <a:gd name="connsiteY8" fmla="*/ 0 h 6870197"/>
                <a:gd name="connsiteX9" fmla="*/ 1 w 12192000"/>
                <a:gd name="connsiteY9" fmla="*/ 6858000 h 6870197"/>
                <a:gd name="connsiteX10" fmla="*/ 0 w 12192000"/>
                <a:gd name="connsiteY10" fmla="*/ 6858000 h 6870197"/>
                <a:gd name="connsiteX11" fmla="*/ 0 w 12192000"/>
                <a:gd name="connsiteY11" fmla="*/ 0 h 6870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192000" h="6870197">
                  <a:moveTo>
                    <a:pt x="8634331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7103051" y="6870197"/>
                  </a:lnTo>
                  <a:cubicBezTo>
                    <a:pt x="8075393" y="5895798"/>
                    <a:pt x="9311687" y="4909201"/>
                    <a:pt x="10284029" y="3934802"/>
                  </a:cubicBezTo>
                  <a:cubicBezTo>
                    <a:pt x="10912748" y="3304752"/>
                    <a:pt x="10912748" y="2283239"/>
                    <a:pt x="10284029" y="1653189"/>
                  </a:cubicBezTo>
                  <a:lnTo>
                    <a:pt x="8634331" y="0"/>
                  </a:lnTo>
                  <a:close/>
                  <a:moveTo>
                    <a:pt x="0" y="0"/>
                  </a:moveTo>
                  <a:lnTo>
                    <a:pt x="1" y="0"/>
                  </a:lnTo>
                  <a:lnTo>
                    <a:pt x="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72000">
                  <a:srgbClr val="D82435">
                    <a:alpha val="11000"/>
                  </a:srgbClr>
                </a:gs>
                <a:gs pos="13000">
                  <a:srgbClr val="D82435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1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D9DBCECE-F207-4B6A-B471-E08E4AF45089}"/>
              </a:ext>
            </a:extLst>
          </p:cNvPr>
          <p:cNvSpPr txBox="1"/>
          <p:nvPr userDrawn="1"/>
        </p:nvSpPr>
        <p:spPr>
          <a:xfrm>
            <a:off x="7186743" y="3456002"/>
            <a:ext cx="4343400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 rtl="1"/>
            <a:r>
              <a:rPr lang="ar-SA" sz="3200" b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LT Arabic 55 Roman" charset="0"/>
                <a:ea typeface="Helvetica Neue LT Arabic 55 Roman" charset="0"/>
                <a:cs typeface="Helvetica Neue LT Arabic 55 Roman" charset="0"/>
              </a:rPr>
              <a:t>شكراً</a:t>
            </a:r>
            <a:endParaRPr lang="id-ID" sz="3200" b="0">
              <a:solidFill>
                <a:schemeClr val="tx1">
                  <a:lumMod val="85000"/>
                  <a:lumOff val="15000"/>
                </a:schemeClr>
              </a:solidFill>
              <a:latin typeface="Helvetica Neue LT Arabic 55 Roman" charset="0"/>
              <a:ea typeface="Helvetica Neue LT Arabic 55 Roman" charset="0"/>
              <a:cs typeface="Helvetica Neue LT Arabic 55 Roman" charset="0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67F4D057-0411-44BE-9A34-9F6F4E6895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6709" y="351026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F743CF8-DD56-4E9A-882F-021EF52CEEF1}"/>
              </a:ext>
            </a:extLst>
          </p:cNvPr>
          <p:cNvCxnSpPr/>
          <p:nvPr userDrawn="1"/>
        </p:nvCxnSpPr>
        <p:spPr>
          <a:xfrm>
            <a:off x="603376" y="4164118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919172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C8535-0720-954B-A84C-FD95405C89A2}" type="datetime1">
              <a:rPr lang="en-US" smtClean="0"/>
              <a:t>8/20/2025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d-ID"/>
              <a:t>Confidential</a:t>
            </a:r>
          </a:p>
        </p:txBody>
      </p:sp>
      <p:grpSp>
        <p:nvGrpSpPr>
          <p:cNvPr id="3" name="Group 2"/>
          <p:cNvGrpSpPr/>
          <p:nvPr userDrawn="1"/>
        </p:nvGrpSpPr>
        <p:grpSpPr>
          <a:xfrm flipH="1">
            <a:off x="0" y="6116470"/>
            <a:ext cx="12192000" cy="756770"/>
            <a:chOff x="0" y="6116470"/>
            <a:chExt cx="12192000" cy="75677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0839B7B-1303-48E4-93E0-593AD68102DE}"/>
                </a:ext>
              </a:extLst>
            </p:cNvPr>
            <p:cNvSpPr/>
            <p:nvPr userDrawn="1"/>
          </p:nvSpPr>
          <p:spPr>
            <a:xfrm>
              <a:off x="0" y="6718300"/>
              <a:ext cx="12192000" cy="154940"/>
            </a:xfrm>
            <a:prstGeom prst="rect">
              <a:avLst/>
            </a:prstGeom>
            <a:solidFill>
              <a:srgbClr val="C1C1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B184FA1-6148-48F7-A021-D6B98DCDA93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663"/>
            <a:stretch/>
          </p:blipFill>
          <p:spPr>
            <a:xfrm flipH="1">
              <a:off x="8185109" y="6116470"/>
              <a:ext cx="4004148" cy="609031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BF03710-0E0F-4B0B-BFA1-60E8A0D4793B}"/>
                </a:ext>
              </a:extLst>
            </p:cNvPr>
            <p:cNvSpPr/>
            <p:nvPr userDrawn="1"/>
          </p:nvSpPr>
          <p:spPr>
            <a:xfrm>
              <a:off x="11056028" y="6613451"/>
              <a:ext cx="415743" cy="244549"/>
            </a:xfrm>
            <a:prstGeom prst="rect">
              <a:avLst/>
            </a:prstGeom>
            <a:solidFill>
              <a:srgbClr val="D8243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id-ID" sz="1801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728D879B-ECD1-403D-9F5D-62C50D47ED97}"/>
                </a:ext>
              </a:extLst>
            </p:cNvPr>
            <p:cNvGrpSpPr/>
            <p:nvPr userDrawn="1"/>
          </p:nvGrpSpPr>
          <p:grpSpPr>
            <a:xfrm>
              <a:off x="1213666" y="6215473"/>
              <a:ext cx="722175" cy="657767"/>
              <a:chOff x="9054324" y="6986116"/>
              <a:chExt cx="782356" cy="657767"/>
            </a:xfrm>
          </p:grpSpPr>
          <p:sp>
            <p:nvSpPr>
              <p:cNvPr id="13" name="Isosceles Triangle 23">
                <a:extLst>
                  <a:ext uri="{FF2B5EF4-FFF2-40B4-BE49-F238E27FC236}">
                    <a16:creationId xmlns:a16="http://schemas.microsoft.com/office/drawing/2014/main" id="{B1BE8E8B-4883-4405-A68F-A039C4ED4A3C}"/>
                  </a:ext>
                </a:extLst>
              </p:cNvPr>
              <p:cNvSpPr/>
              <p:nvPr userDrawn="1"/>
            </p:nvSpPr>
            <p:spPr>
              <a:xfrm flipV="1">
                <a:off x="9054324" y="7232685"/>
                <a:ext cx="782356" cy="411198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1662"/>
              </a:p>
            </p:txBody>
          </p:sp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69F83878-0C84-4835-9C22-EAF1ED7F9F5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9173405" y="6986116"/>
                <a:ext cx="420010" cy="552179"/>
              </a:xfrm>
              <a:prstGeom prst="rect">
                <a:avLst/>
              </a:prstGeom>
            </p:spPr>
          </p:pic>
        </p:grp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17486" y="6610406"/>
            <a:ext cx="418486" cy="365125"/>
          </a:xfrm>
        </p:spPr>
        <p:txBody>
          <a:bodyPr/>
          <a:lstStyle>
            <a:lvl1pPr algn="ctr">
              <a:defRPr sz="1000">
                <a:solidFill>
                  <a:schemeClr val="bg1"/>
                </a:solidFill>
                <a:latin typeface="Nexa Light" charset="0"/>
                <a:ea typeface="Nexa Light" charset="0"/>
                <a:cs typeface="Nexa Light" charset="0"/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C2F6244-4702-45FC-A95C-55900A0EF428}"/>
              </a:ext>
            </a:extLst>
          </p:cNvPr>
          <p:cNvSpPr/>
          <p:nvPr userDrawn="1"/>
        </p:nvSpPr>
        <p:spPr>
          <a:xfrm>
            <a:off x="3908021" y="6662996"/>
            <a:ext cx="424537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SA" sz="1050" b="1">
                <a:solidFill>
                  <a:schemeClr val="bg1"/>
                </a:solidFill>
                <a:latin typeface="HelveticaNeueLT Arabic 75 Bold" panose="020B0804020202020204" pitchFamily="34" charset="-78"/>
                <a:cs typeface="HelveticaNeueLT Arabic 75 Bold" panose="020B0804020202020204" pitchFamily="34" charset="-78"/>
              </a:rPr>
              <a:t>هذه الوثيقة سرية ويحظر أي استخدام غير مصرح به بدون إذن من شركة "كفاءة"</a:t>
            </a:r>
            <a:endParaRPr lang="en-US" sz="1000" b="1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23583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10"/>
          <p:cNvSpPr txBox="1">
            <a:spLocks/>
          </p:cNvSpPr>
          <p:nvPr userDrawn="1"/>
        </p:nvSpPr>
        <p:spPr>
          <a:xfrm>
            <a:off x="10830680" y="6709804"/>
            <a:ext cx="302400" cy="12311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z="900" smtClean="0"/>
              <a:pPr/>
              <a:t>‹#›</a:t>
            </a:fld>
            <a:endParaRPr lang="id-ID" sz="900"/>
          </a:p>
        </p:txBody>
      </p:sp>
      <p:sp>
        <p:nvSpPr>
          <p:cNvPr id="11" name="Rectangle 10"/>
          <p:cNvSpPr/>
          <p:nvPr userDrawn="1"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35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8248651" y="6121678"/>
            <a:ext cx="3943349" cy="609031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10773677" y="6672754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 sz="135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30680" y="6687994"/>
            <a:ext cx="302400" cy="170006"/>
          </a:xfrm>
        </p:spPr>
        <p:txBody>
          <a:bodyPr vert="horz" lIns="0" tIns="36000" rIns="0" bIns="36000" rtlCol="0" anchor="ctr">
            <a:noAutofit/>
          </a:bodyPr>
          <a:lstStyle>
            <a:lvl1pPr algn="ctr">
              <a:defRPr lang="id-ID" sz="900" smtClean="0">
                <a:solidFill>
                  <a:schemeClr val="bg1"/>
                </a:solidFill>
                <a:latin typeface="Nexa Bold" panose="02000000000000000000" pitchFamily="50" charset="0"/>
              </a:defRPr>
            </a:lvl1pPr>
          </a:lstStyle>
          <a:p>
            <a:fld id="{E60EF5E4-35CF-4C29-B9F8-D683A03DA2A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8559B158-3332-4300-A08F-F4FA5B0EC45D}"/>
              </a:ext>
            </a:extLst>
          </p:cNvPr>
          <p:cNvSpPr/>
          <p:nvPr userDrawn="1"/>
        </p:nvSpPr>
        <p:spPr>
          <a:xfrm flipV="1">
            <a:off x="1427927" y="65273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35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EB77616-B89F-4342-B0C5-5A86F34154F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0841" y="6421716"/>
            <a:ext cx="420011" cy="411198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A926DC19-407C-401F-BB18-D00FC4DEE4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2560" y="355611"/>
            <a:ext cx="8748224" cy="284693"/>
          </a:xfrm>
        </p:spPr>
        <p:txBody>
          <a:bodyPr lIns="0" tIns="0" rIns="0" bIns="0" anchor="t">
            <a:spAutoFit/>
          </a:bodyPr>
          <a:lstStyle>
            <a:lvl1pPr algn="r"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HelveticaNeueLT Arabic 55 Roman" panose="020B0604020202020204" pitchFamily="34" charset="-78"/>
                <a:cs typeface="HelveticaNeueLT Arabic 55 Roman" panose="020B0604020202020204" pitchFamily="34" charset="-78"/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8183547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137E3-3D99-41B2-95D7-30814A2169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768E81-5D27-4AC4-9547-762879BE03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9850" y="3428999"/>
            <a:ext cx="3164099" cy="272734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A5F4FD7A-EA9F-4552-B3F6-30AC397A71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821E9E9-FC1A-4B4C-B58D-8D6B71B99AE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13950" y="3428999"/>
            <a:ext cx="3164099" cy="272734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2E066841-377F-4E7E-9967-311FF4F3122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404261" y="3428999"/>
            <a:ext cx="3164099" cy="272734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18">
            <a:extLst>
              <a:ext uri="{FF2B5EF4-FFF2-40B4-BE49-F238E27FC236}">
                <a16:creationId xmlns:a16="http://schemas.microsoft.com/office/drawing/2014/main" id="{6E6B21D5-6327-42AE-B779-8BFB48752B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640" y="2794452"/>
            <a:ext cx="3164099" cy="452856"/>
          </a:xfrm>
        </p:spPr>
        <p:txBody>
          <a:bodyPr>
            <a:normAutofit/>
          </a:bodyPr>
          <a:lstStyle>
            <a:lvl1pPr marL="0" indent="0">
              <a:buNone/>
              <a:defRPr lang="en-US" sz="1400" kern="1200" dirty="0" smtClean="0">
                <a:solidFill>
                  <a:srgbClr val="D82435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134A70D3-B164-4624-9FDB-771BE13F64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13950" y="2794452"/>
            <a:ext cx="3164099" cy="452856"/>
          </a:xfrm>
        </p:spPr>
        <p:txBody>
          <a:bodyPr>
            <a:normAutofit/>
          </a:bodyPr>
          <a:lstStyle>
            <a:lvl1pPr marL="0" indent="0">
              <a:buNone/>
              <a:defRPr lang="en-US" sz="1400" kern="1200" dirty="0" smtClean="0">
                <a:solidFill>
                  <a:srgbClr val="D82435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2268C08B-A65C-43CD-8860-8E985542F6D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99251" y="2794452"/>
            <a:ext cx="3164099" cy="452856"/>
          </a:xfrm>
        </p:spPr>
        <p:txBody>
          <a:bodyPr>
            <a:normAutofit/>
          </a:bodyPr>
          <a:lstStyle>
            <a:lvl1pPr marL="0" indent="0">
              <a:buNone/>
              <a:defRPr lang="en-US" sz="1400" kern="1200" dirty="0" smtClean="0">
                <a:solidFill>
                  <a:srgbClr val="D82435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2035AEC4-1A15-4447-8ED0-8393792BD1C3}"/>
              </a:ext>
            </a:extLst>
          </p:cNvPr>
          <p:cNvGrpSpPr/>
          <p:nvPr/>
        </p:nvGrpSpPr>
        <p:grpSpPr>
          <a:xfrm>
            <a:off x="1780197" y="1584200"/>
            <a:ext cx="850984" cy="862669"/>
            <a:chOff x="16150298" y="1825625"/>
            <a:chExt cx="1373702" cy="1392564"/>
          </a:xfrm>
        </p:grpSpPr>
        <p:sp>
          <p:nvSpPr>
            <p:cNvPr id="42" name="Rounded Rectangle 53">
              <a:extLst>
                <a:ext uri="{FF2B5EF4-FFF2-40B4-BE49-F238E27FC236}">
                  <a16:creationId xmlns:a16="http://schemas.microsoft.com/office/drawing/2014/main" id="{07322244-8CEE-4B1E-8F9C-7A5A7A114700}"/>
                </a:ext>
              </a:extLst>
            </p:cNvPr>
            <p:cNvSpPr/>
            <p:nvPr/>
          </p:nvSpPr>
          <p:spPr>
            <a:xfrm rot="2700000">
              <a:off x="16346364" y="2040553"/>
              <a:ext cx="1177636" cy="1177636"/>
            </a:xfrm>
            <a:prstGeom prst="roundRect">
              <a:avLst>
                <a:gd name="adj" fmla="val 9804"/>
              </a:avLst>
            </a:prstGeom>
            <a:gradFill>
              <a:gsLst>
                <a:gs pos="25000">
                  <a:srgbClr val="D82435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 dirty="0"/>
            </a:p>
          </p:txBody>
        </p:sp>
        <p:sp>
          <p:nvSpPr>
            <p:cNvPr id="43" name="Freeform 54">
              <a:extLst>
                <a:ext uri="{FF2B5EF4-FFF2-40B4-BE49-F238E27FC236}">
                  <a16:creationId xmlns:a16="http://schemas.microsoft.com/office/drawing/2014/main" id="{30E9EBE1-DB77-43D5-971D-492D576FAAED}"/>
                </a:ext>
              </a:extLst>
            </p:cNvPr>
            <p:cNvSpPr/>
            <p:nvPr/>
          </p:nvSpPr>
          <p:spPr>
            <a:xfrm>
              <a:off x="16150298" y="1825625"/>
              <a:ext cx="1263455" cy="1154994"/>
            </a:xfrm>
            <a:custGeom>
              <a:avLst/>
              <a:gdLst>
                <a:gd name="connsiteX0" fmla="*/ 784891 w 1263455"/>
                <a:gd name="connsiteY0" fmla="*/ 0 h 1154994"/>
                <a:gd name="connsiteX1" fmla="*/ 866530 w 1263455"/>
                <a:gd name="connsiteY1" fmla="*/ 33816 h 1154994"/>
                <a:gd name="connsiteX2" fmla="*/ 1263455 w 1263455"/>
                <a:gd name="connsiteY2" fmla="*/ 430740 h 1154994"/>
                <a:gd name="connsiteX3" fmla="*/ 1255671 w 1263455"/>
                <a:gd name="connsiteY3" fmla="*/ 458346 h 1154994"/>
                <a:gd name="connsiteX4" fmla="*/ 430298 w 1263455"/>
                <a:gd name="connsiteY4" fmla="*/ 1139960 h 1154994"/>
                <a:gd name="connsiteX5" fmla="*/ 322280 w 1263455"/>
                <a:gd name="connsiteY5" fmla="*/ 1154994 h 1154994"/>
                <a:gd name="connsiteX6" fmla="*/ 33816 w 1263455"/>
                <a:gd name="connsiteY6" fmla="*/ 866530 h 1154994"/>
                <a:gd name="connsiteX7" fmla="*/ 33816 w 1263455"/>
                <a:gd name="connsiteY7" fmla="*/ 703252 h 1154994"/>
                <a:gd name="connsiteX8" fmla="*/ 703252 w 1263455"/>
                <a:gd name="connsiteY8" fmla="*/ 33816 h 1154994"/>
                <a:gd name="connsiteX9" fmla="*/ 784891 w 1263455"/>
                <a:gd name="connsiteY9" fmla="*/ 0 h 115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3455" h="1154994">
                  <a:moveTo>
                    <a:pt x="784891" y="0"/>
                  </a:moveTo>
                  <a:cubicBezTo>
                    <a:pt x="814439" y="0"/>
                    <a:pt x="843986" y="11272"/>
                    <a:pt x="866530" y="33816"/>
                  </a:cubicBezTo>
                  <a:lnTo>
                    <a:pt x="1263455" y="430740"/>
                  </a:lnTo>
                  <a:lnTo>
                    <a:pt x="1255671" y="458346"/>
                  </a:lnTo>
                  <a:cubicBezTo>
                    <a:pt x="1138321" y="802435"/>
                    <a:pt x="822483" y="1066770"/>
                    <a:pt x="430298" y="1139960"/>
                  </a:cubicBezTo>
                  <a:lnTo>
                    <a:pt x="322280" y="1154994"/>
                  </a:lnTo>
                  <a:lnTo>
                    <a:pt x="33816" y="866530"/>
                  </a:lnTo>
                  <a:cubicBezTo>
                    <a:pt x="-11272" y="821442"/>
                    <a:pt x="-11272" y="748340"/>
                    <a:pt x="33816" y="703252"/>
                  </a:cubicBezTo>
                  <a:lnTo>
                    <a:pt x="703252" y="33816"/>
                  </a:lnTo>
                  <a:cubicBezTo>
                    <a:pt x="725796" y="11272"/>
                    <a:pt x="755344" y="0"/>
                    <a:pt x="784891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689FB85F-C684-4729-A907-23159F823A9D}"/>
              </a:ext>
            </a:extLst>
          </p:cNvPr>
          <p:cNvGrpSpPr/>
          <p:nvPr/>
        </p:nvGrpSpPr>
        <p:grpSpPr>
          <a:xfrm>
            <a:off x="5667658" y="1584200"/>
            <a:ext cx="850984" cy="862669"/>
            <a:chOff x="16150298" y="1825625"/>
            <a:chExt cx="1373702" cy="1392564"/>
          </a:xfrm>
        </p:grpSpPr>
        <p:sp>
          <p:nvSpPr>
            <p:cNvPr id="58" name="Rounded Rectangle 53">
              <a:extLst>
                <a:ext uri="{FF2B5EF4-FFF2-40B4-BE49-F238E27FC236}">
                  <a16:creationId xmlns:a16="http://schemas.microsoft.com/office/drawing/2014/main" id="{52CBBC70-01D5-4336-B6CE-A90CEFF47CA7}"/>
                </a:ext>
              </a:extLst>
            </p:cNvPr>
            <p:cNvSpPr/>
            <p:nvPr/>
          </p:nvSpPr>
          <p:spPr>
            <a:xfrm rot="2700000">
              <a:off x="16346364" y="2040553"/>
              <a:ext cx="1177636" cy="1177636"/>
            </a:xfrm>
            <a:prstGeom prst="roundRect">
              <a:avLst>
                <a:gd name="adj" fmla="val 9804"/>
              </a:avLst>
            </a:prstGeom>
            <a:gradFill>
              <a:gsLst>
                <a:gs pos="25000">
                  <a:srgbClr val="D82435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 dirty="0"/>
            </a:p>
          </p:txBody>
        </p:sp>
        <p:sp>
          <p:nvSpPr>
            <p:cNvPr id="59" name="Freeform 54">
              <a:extLst>
                <a:ext uri="{FF2B5EF4-FFF2-40B4-BE49-F238E27FC236}">
                  <a16:creationId xmlns:a16="http://schemas.microsoft.com/office/drawing/2014/main" id="{E26FD267-1B36-4901-B67C-976BDF3C638E}"/>
                </a:ext>
              </a:extLst>
            </p:cNvPr>
            <p:cNvSpPr/>
            <p:nvPr/>
          </p:nvSpPr>
          <p:spPr>
            <a:xfrm>
              <a:off x="16150298" y="1825625"/>
              <a:ext cx="1263455" cy="1154994"/>
            </a:xfrm>
            <a:custGeom>
              <a:avLst/>
              <a:gdLst>
                <a:gd name="connsiteX0" fmla="*/ 784891 w 1263455"/>
                <a:gd name="connsiteY0" fmla="*/ 0 h 1154994"/>
                <a:gd name="connsiteX1" fmla="*/ 866530 w 1263455"/>
                <a:gd name="connsiteY1" fmla="*/ 33816 h 1154994"/>
                <a:gd name="connsiteX2" fmla="*/ 1263455 w 1263455"/>
                <a:gd name="connsiteY2" fmla="*/ 430740 h 1154994"/>
                <a:gd name="connsiteX3" fmla="*/ 1255671 w 1263455"/>
                <a:gd name="connsiteY3" fmla="*/ 458346 h 1154994"/>
                <a:gd name="connsiteX4" fmla="*/ 430298 w 1263455"/>
                <a:gd name="connsiteY4" fmla="*/ 1139960 h 1154994"/>
                <a:gd name="connsiteX5" fmla="*/ 322280 w 1263455"/>
                <a:gd name="connsiteY5" fmla="*/ 1154994 h 1154994"/>
                <a:gd name="connsiteX6" fmla="*/ 33816 w 1263455"/>
                <a:gd name="connsiteY6" fmla="*/ 866530 h 1154994"/>
                <a:gd name="connsiteX7" fmla="*/ 33816 w 1263455"/>
                <a:gd name="connsiteY7" fmla="*/ 703252 h 1154994"/>
                <a:gd name="connsiteX8" fmla="*/ 703252 w 1263455"/>
                <a:gd name="connsiteY8" fmla="*/ 33816 h 1154994"/>
                <a:gd name="connsiteX9" fmla="*/ 784891 w 1263455"/>
                <a:gd name="connsiteY9" fmla="*/ 0 h 115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3455" h="1154994">
                  <a:moveTo>
                    <a:pt x="784891" y="0"/>
                  </a:moveTo>
                  <a:cubicBezTo>
                    <a:pt x="814439" y="0"/>
                    <a:pt x="843986" y="11272"/>
                    <a:pt x="866530" y="33816"/>
                  </a:cubicBezTo>
                  <a:lnTo>
                    <a:pt x="1263455" y="430740"/>
                  </a:lnTo>
                  <a:lnTo>
                    <a:pt x="1255671" y="458346"/>
                  </a:lnTo>
                  <a:cubicBezTo>
                    <a:pt x="1138321" y="802435"/>
                    <a:pt x="822483" y="1066770"/>
                    <a:pt x="430298" y="1139960"/>
                  </a:cubicBezTo>
                  <a:lnTo>
                    <a:pt x="322280" y="1154994"/>
                  </a:lnTo>
                  <a:lnTo>
                    <a:pt x="33816" y="866530"/>
                  </a:lnTo>
                  <a:cubicBezTo>
                    <a:pt x="-11272" y="821442"/>
                    <a:pt x="-11272" y="748340"/>
                    <a:pt x="33816" y="703252"/>
                  </a:cubicBezTo>
                  <a:lnTo>
                    <a:pt x="703252" y="33816"/>
                  </a:lnTo>
                  <a:cubicBezTo>
                    <a:pt x="725796" y="11272"/>
                    <a:pt x="755344" y="0"/>
                    <a:pt x="784891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04429F9-D8DD-444C-87C1-251D3813E062}"/>
              </a:ext>
            </a:extLst>
          </p:cNvPr>
          <p:cNvGrpSpPr/>
          <p:nvPr/>
        </p:nvGrpSpPr>
        <p:grpSpPr>
          <a:xfrm>
            <a:off x="9399519" y="1584200"/>
            <a:ext cx="850984" cy="862669"/>
            <a:chOff x="16150298" y="1825625"/>
            <a:chExt cx="1373702" cy="1392564"/>
          </a:xfrm>
        </p:grpSpPr>
        <p:sp>
          <p:nvSpPr>
            <p:cNvPr id="63" name="Rounded Rectangle 53">
              <a:extLst>
                <a:ext uri="{FF2B5EF4-FFF2-40B4-BE49-F238E27FC236}">
                  <a16:creationId xmlns:a16="http://schemas.microsoft.com/office/drawing/2014/main" id="{D7C8FA2F-44BF-465A-BEEA-1953428AF209}"/>
                </a:ext>
              </a:extLst>
            </p:cNvPr>
            <p:cNvSpPr/>
            <p:nvPr/>
          </p:nvSpPr>
          <p:spPr>
            <a:xfrm rot="2700000">
              <a:off x="16346364" y="2040553"/>
              <a:ext cx="1177636" cy="1177636"/>
            </a:xfrm>
            <a:prstGeom prst="roundRect">
              <a:avLst>
                <a:gd name="adj" fmla="val 9804"/>
              </a:avLst>
            </a:prstGeom>
            <a:gradFill>
              <a:gsLst>
                <a:gs pos="25000">
                  <a:srgbClr val="D82435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 dirty="0"/>
            </a:p>
          </p:txBody>
        </p:sp>
        <p:sp>
          <p:nvSpPr>
            <p:cNvPr id="64" name="Freeform 54">
              <a:extLst>
                <a:ext uri="{FF2B5EF4-FFF2-40B4-BE49-F238E27FC236}">
                  <a16:creationId xmlns:a16="http://schemas.microsoft.com/office/drawing/2014/main" id="{8AB6CC8F-F38E-4DF4-AE28-7417B1170EA7}"/>
                </a:ext>
              </a:extLst>
            </p:cNvPr>
            <p:cNvSpPr/>
            <p:nvPr/>
          </p:nvSpPr>
          <p:spPr>
            <a:xfrm>
              <a:off x="16150298" y="1825625"/>
              <a:ext cx="1263455" cy="1154994"/>
            </a:xfrm>
            <a:custGeom>
              <a:avLst/>
              <a:gdLst>
                <a:gd name="connsiteX0" fmla="*/ 784891 w 1263455"/>
                <a:gd name="connsiteY0" fmla="*/ 0 h 1154994"/>
                <a:gd name="connsiteX1" fmla="*/ 866530 w 1263455"/>
                <a:gd name="connsiteY1" fmla="*/ 33816 h 1154994"/>
                <a:gd name="connsiteX2" fmla="*/ 1263455 w 1263455"/>
                <a:gd name="connsiteY2" fmla="*/ 430740 h 1154994"/>
                <a:gd name="connsiteX3" fmla="*/ 1255671 w 1263455"/>
                <a:gd name="connsiteY3" fmla="*/ 458346 h 1154994"/>
                <a:gd name="connsiteX4" fmla="*/ 430298 w 1263455"/>
                <a:gd name="connsiteY4" fmla="*/ 1139960 h 1154994"/>
                <a:gd name="connsiteX5" fmla="*/ 322280 w 1263455"/>
                <a:gd name="connsiteY5" fmla="*/ 1154994 h 1154994"/>
                <a:gd name="connsiteX6" fmla="*/ 33816 w 1263455"/>
                <a:gd name="connsiteY6" fmla="*/ 866530 h 1154994"/>
                <a:gd name="connsiteX7" fmla="*/ 33816 w 1263455"/>
                <a:gd name="connsiteY7" fmla="*/ 703252 h 1154994"/>
                <a:gd name="connsiteX8" fmla="*/ 703252 w 1263455"/>
                <a:gd name="connsiteY8" fmla="*/ 33816 h 1154994"/>
                <a:gd name="connsiteX9" fmla="*/ 784891 w 1263455"/>
                <a:gd name="connsiteY9" fmla="*/ 0 h 115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3455" h="1154994">
                  <a:moveTo>
                    <a:pt x="784891" y="0"/>
                  </a:moveTo>
                  <a:cubicBezTo>
                    <a:pt x="814439" y="0"/>
                    <a:pt x="843986" y="11272"/>
                    <a:pt x="866530" y="33816"/>
                  </a:cubicBezTo>
                  <a:lnTo>
                    <a:pt x="1263455" y="430740"/>
                  </a:lnTo>
                  <a:lnTo>
                    <a:pt x="1255671" y="458346"/>
                  </a:lnTo>
                  <a:cubicBezTo>
                    <a:pt x="1138321" y="802435"/>
                    <a:pt x="822483" y="1066770"/>
                    <a:pt x="430298" y="1139960"/>
                  </a:cubicBezTo>
                  <a:lnTo>
                    <a:pt x="322280" y="1154994"/>
                  </a:lnTo>
                  <a:lnTo>
                    <a:pt x="33816" y="866530"/>
                  </a:lnTo>
                  <a:cubicBezTo>
                    <a:pt x="-11272" y="821442"/>
                    <a:pt x="-11272" y="748340"/>
                    <a:pt x="33816" y="703252"/>
                  </a:cubicBezTo>
                  <a:lnTo>
                    <a:pt x="703252" y="33816"/>
                  </a:lnTo>
                  <a:cubicBezTo>
                    <a:pt x="725796" y="11272"/>
                    <a:pt x="755344" y="0"/>
                    <a:pt x="784891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C0390695-5B47-4927-81D3-755FA766F131}"/>
              </a:ext>
            </a:extLst>
          </p:cNvPr>
          <p:cNvSpPr txBox="1"/>
          <p:nvPr/>
        </p:nvSpPr>
        <p:spPr>
          <a:xfrm>
            <a:off x="2053058" y="1950866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FFFF"/>
                </a:solidFill>
              </a:rPr>
              <a:t>Icon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ADCBA33-44FE-4671-AAE9-5263D2C028C1}"/>
              </a:ext>
            </a:extLst>
          </p:cNvPr>
          <p:cNvSpPr txBox="1"/>
          <p:nvPr/>
        </p:nvSpPr>
        <p:spPr>
          <a:xfrm>
            <a:off x="5940519" y="1950866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FFFF"/>
                </a:solidFill>
              </a:rPr>
              <a:t>Icon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A6C3E56-DE7A-407B-9967-BE3D2EDD9BD9}"/>
              </a:ext>
            </a:extLst>
          </p:cNvPr>
          <p:cNvSpPr txBox="1"/>
          <p:nvPr/>
        </p:nvSpPr>
        <p:spPr>
          <a:xfrm>
            <a:off x="9668704" y="1950866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FFFF"/>
                </a:solidFill>
              </a:rPr>
              <a:t>Icon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FCE8CF4-1651-4DA9-A7F2-32E7B3EDFE49}"/>
              </a:ext>
            </a:extLst>
          </p:cNvPr>
          <p:cNvGrpSpPr/>
          <p:nvPr/>
        </p:nvGrpSpPr>
        <p:grpSpPr>
          <a:xfrm>
            <a:off x="1780197" y="1584200"/>
            <a:ext cx="850984" cy="862669"/>
            <a:chOff x="16150298" y="1825625"/>
            <a:chExt cx="1373702" cy="1392564"/>
          </a:xfrm>
        </p:grpSpPr>
        <p:sp>
          <p:nvSpPr>
            <p:cNvPr id="25" name="Rounded Rectangle 53">
              <a:extLst>
                <a:ext uri="{FF2B5EF4-FFF2-40B4-BE49-F238E27FC236}">
                  <a16:creationId xmlns:a16="http://schemas.microsoft.com/office/drawing/2014/main" id="{CB81160A-A51C-4FD0-B287-3A9618B1EAE8}"/>
                </a:ext>
              </a:extLst>
            </p:cNvPr>
            <p:cNvSpPr/>
            <p:nvPr/>
          </p:nvSpPr>
          <p:spPr>
            <a:xfrm rot="2700000">
              <a:off x="16346364" y="2040553"/>
              <a:ext cx="1177636" cy="1177636"/>
            </a:xfrm>
            <a:prstGeom prst="roundRect">
              <a:avLst>
                <a:gd name="adj" fmla="val 9804"/>
              </a:avLst>
            </a:prstGeom>
            <a:gradFill>
              <a:gsLst>
                <a:gs pos="25000">
                  <a:srgbClr val="D82435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 dirty="0"/>
            </a:p>
          </p:txBody>
        </p:sp>
        <p:sp>
          <p:nvSpPr>
            <p:cNvPr id="26" name="Freeform 54">
              <a:extLst>
                <a:ext uri="{FF2B5EF4-FFF2-40B4-BE49-F238E27FC236}">
                  <a16:creationId xmlns:a16="http://schemas.microsoft.com/office/drawing/2014/main" id="{4B89D80E-DD22-44CF-AC53-E28A8C10CBAC}"/>
                </a:ext>
              </a:extLst>
            </p:cNvPr>
            <p:cNvSpPr/>
            <p:nvPr/>
          </p:nvSpPr>
          <p:spPr>
            <a:xfrm>
              <a:off x="16150298" y="1825625"/>
              <a:ext cx="1263455" cy="1154994"/>
            </a:xfrm>
            <a:custGeom>
              <a:avLst/>
              <a:gdLst>
                <a:gd name="connsiteX0" fmla="*/ 784891 w 1263455"/>
                <a:gd name="connsiteY0" fmla="*/ 0 h 1154994"/>
                <a:gd name="connsiteX1" fmla="*/ 866530 w 1263455"/>
                <a:gd name="connsiteY1" fmla="*/ 33816 h 1154994"/>
                <a:gd name="connsiteX2" fmla="*/ 1263455 w 1263455"/>
                <a:gd name="connsiteY2" fmla="*/ 430740 h 1154994"/>
                <a:gd name="connsiteX3" fmla="*/ 1255671 w 1263455"/>
                <a:gd name="connsiteY3" fmla="*/ 458346 h 1154994"/>
                <a:gd name="connsiteX4" fmla="*/ 430298 w 1263455"/>
                <a:gd name="connsiteY4" fmla="*/ 1139960 h 1154994"/>
                <a:gd name="connsiteX5" fmla="*/ 322280 w 1263455"/>
                <a:gd name="connsiteY5" fmla="*/ 1154994 h 1154994"/>
                <a:gd name="connsiteX6" fmla="*/ 33816 w 1263455"/>
                <a:gd name="connsiteY6" fmla="*/ 866530 h 1154994"/>
                <a:gd name="connsiteX7" fmla="*/ 33816 w 1263455"/>
                <a:gd name="connsiteY7" fmla="*/ 703252 h 1154994"/>
                <a:gd name="connsiteX8" fmla="*/ 703252 w 1263455"/>
                <a:gd name="connsiteY8" fmla="*/ 33816 h 1154994"/>
                <a:gd name="connsiteX9" fmla="*/ 784891 w 1263455"/>
                <a:gd name="connsiteY9" fmla="*/ 0 h 115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3455" h="1154994">
                  <a:moveTo>
                    <a:pt x="784891" y="0"/>
                  </a:moveTo>
                  <a:cubicBezTo>
                    <a:pt x="814439" y="0"/>
                    <a:pt x="843986" y="11272"/>
                    <a:pt x="866530" y="33816"/>
                  </a:cubicBezTo>
                  <a:lnTo>
                    <a:pt x="1263455" y="430740"/>
                  </a:lnTo>
                  <a:lnTo>
                    <a:pt x="1255671" y="458346"/>
                  </a:lnTo>
                  <a:cubicBezTo>
                    <a:pt x="1138321" y="802435"/>
                    <a:pt x="822483" y="1066770"/>
                    <a:pt x="430298" y="1139960"/>
                  </a:cubicBezTo>
                  <a:lnTo>
                    <a:pt x="322280" y="1154994"/>
                  </a:lnTo>
                  <a:lnTo>
                    <a:pt x="33816" y="866530"/>
                  </a:lnTo>
                  <a:cubicBezTo>
                    <a:pt x="-11272" y="821442"/>
                    <a:pt x="-11272" y="748340"/>
                    <a:pt x="33816" y="703252"/>
                  </a:cubicBezTo>
                  <a:lnTo>
                    <a:pt x="703252" y="33816"/>
                  </a:lnTo>
                  <a:cubicBezTo>
                    <a:pt x="725796" y="11272"/>
                    <a:pt x="755344" y="0"/>
                    <a:pt x="784891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BB603FB-80A9-43AE-B842-123502389E45}"/>
              </a:ext>
            </a:extLst>
          </p:cNvPr>
          <p:cNvGrpSpPr/>
          <p:nvPr/>
        </p:nvGrpSpPr>
        <p:grpSpPr>
          <a:xfrm>
            <a:off x="5667658" y="1584200"/>
            <a:ext cx="850984" cy="862669"/>
            <a:chOff x="16150298" y="1825625"/>
            <a:chExt cx="1373702" cy="1392564"/>
          </a:xfrm>
        </p:grpSpPr>
        <p:sp>
          <p:nvSpPr>
            <p:cNvPr id="28" name="Rounded Rectangle 53">
              <a:extLst>
                <a:ext uri="{FF2B5EF4-FFF2-40B4-BE49-F238E27FC236}">
                  <a16:creationId xmlns:a16="http://schemas.microsoft.com/office/drawing/2014/main" id="{C26C62C4-B1A9-4279-B01A-688312BBCAC1}"/>
                </a:ext>
              </a:extLst>
            </p:cNvPr>
            <p:cNvSpPr/>
            <p:nvPr/>
          </p:nvSpPr>
          <p:spPr>
            <a:xfrm rot="2700000">
              <a:off x="16346364" y="2040553"/>
              <a:ext cx="1177636" cy="1177636"/>
            </a:xfrm>
            <a:prstGeom prst="roundRect">
              <a:avLst>
                <a:gd name="adj" fmla="val 9804"/>
              </a:avLst>
            </a:prstGeom>
            <a:gradFill>
              <a:gsLst>
                <a:gs pos="25000">
                  <a:srgbClr val="D82435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 dirty="0"/>
            </a:p>
          </p:txBody>
        </p:sp>
        <p:sp>
          <p:nvSpPr>
            <p:cNvPr id="29" name="Freeform 54">
              <a:extLst>
                <a:ext uri="{FF2B5EF4-FFF2-40B4-BE49-F238E27FC236}">
                  <a16:creationId xmlns:a16="http://schemas.microsoft.com/office/drawing/2014/main" id="{58DE07B4-80F0-4FAD-86CC-A907822D7473}"/>
                </a:ext>
              </a:extLst>
            </p:cNvPr>
            <p:cNvSpPr/>
            <p:nvPr/>
          </p:nvSpPr>
          <p:spPr>
            <a:xfrm>
              <a:off x="16150298" y="1825625"/>
              <a:ext cx="1263455" cy="1154994"/>
            </a:xfrm>
            <a:custGeom>
              <a:avLst/>
              <a:gdLst>
                <a:gd name="connsiteX0" fmla="*/ 784891 w 1263455"/>
                <a:gd name="connsiteY0" fmla="*/ 0 h 1154994"/>
                <a:gd name="connsiteX1" fmla="*/ 866530 w 1263455"/>
                <a:gd name="connsiteY1" fmla="*/ 33816 h 1154994"/>
                <a:gd name="connsiteX2" fmla="*/ 1263455 w 1263455"/>
                <a:gd name="connsiteY2" fmla="*/ 430740 h 1154994"/>
                <a:gd name="connsiteX3" fmla="*/ 1255671 w 1263455"/>
                <a:gd name="connsiteY3" fmla="*/ 458346 h 1154994"/>
                <a:gd name="connsiteX4" fmla="*/ 430298 w 1263455"/>
                <a:gd name="connsiteY4" fmla="*/ 1139960 h 1154994"/>
                <a:gd name="connsiteX5" fmla="*/ 322280 w 1263455"/>
                <a:gd name="connsiteY5" fmla="*/ 1154994 h 1154994"/>
                <a:gd name="connsiteX6" fmla="*/ 33816 w 1263455"/>
                <a:gd name="connsiteY6" fmla="*/ 866530 h 1154994"/>
                <a:gd name="connsiteX7" fmla="*/ 33816 w 1263455"/>
                <a:gd name="connsiteY7" fmla="*/ 703252 h 1154994"/>
                <a:gd name="connsiteX8" fmla="*/ 703252 w 1263455"/>
                <a:gd name="connsiteY8" fmla="*/ 33816 h 1154994"/>
                <a:gd name="connsiteX9" fmla="*/ 784891 w 1263455"/>
                <a:gd name="connsiteY9" fmla="*/ 0 h 115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3455" h="1154994">
                  <a:moveTo>
                    <a:pt x="784891" y="0"/>
                  </a:moveTo>
                  <a:cubicBezTo>
                    <a:pt x="814439" y="0"/>
                    <a:pt x="843986" y="11272"/>
                    <a:pt x="866530" y="33816"/>
                  </a:cubicBezTo>
                  <a:lnTo>
                    <a:pt x="1263455" y="430740"/>
                  </a:lnTo>
                  <a:lnTo>
                    <a:pt x="1255671" y="458346"/>
                  </a:lnTo>
                  <a:cubicBezTo>
                    <a:pt x="1138321" y="802435"/>
                    <a:pt x="822483" y="1066770"/>
                    <a:pt x="430298" y="1139960"/>
                  </a:cubicBezTo>
                  <a:lnTo>
                    <a:pt x="322280" y="1154994"/>
                  </a:lnTo>
                  <a:lnTo>
                    <a:pt x="33816" y="866530"/>
                  </a:lnTo>
                  <a:cubicBezTo>
                    <a:pt x="-11272" y="821442"/>
                    <a:pt x="-11272" y="748340"/>
                    <a:pt x="33816" y="703252"/>
                  </a:cubicBezTo>
                  <a:lnTo>
                    <a:pt x="703252" y="33816"/>
                  </a:lnTo>
                  <a:cubicBezTo>
                    <a:pt x="725796" y="11272"/>
                    <a:pt x="755344" y="0"/>
                    <a:pt x="784891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89C745-D871-49D2-8202-150BC833FFAE}"/>
              </a:ext>
            </a:extLst>
          </p:cNvPr>
          <p:cNvGrpSpPr/>
          <p:nvPr/>
        </p:nvGrpSpPr>
        <p:grpSpPr>
          <a:xfrm>
            <a:off x="9399519" y="1584200"/>
            <a:ext cx="850984" cy="862669"/>
            <a:chOff x="16150298" y="1825625"/>
            <a:chExt cx="1373702" cy="1392564"/>
          </a:xfrm>
        </p:grpSpPr>
        <p:sp>
          <p:nvSpPr>
            <p:cNvPr id="31" name="Rounded Rectangle 53">
              <a:extLst>
                <a:ext uri="{FF2B5EF4-FFF2-40B4-BE49-F238E27FC236}">
                  <a16:creationId xmlns:a16="http://schemas.microsoft.com/office/drawing/2014/main" id="{C1F3B132-9B63-414F-A61B-A3F4333A39F0}"/>
                </a:ext>
              </a:extLst>
            </p:cNvPr>
            <p:cNvSpPr/>
            <p:nvPr/>
          </p:nvSpPr>
          <p:spPr>
            <a:xfrm rot="2700000">
              <a:off x="16346364" y="2040553"/>
              <a:ext cx="1177636" cy="1177636"/>
            </a:xfrm>
            <a:prstGeom prst="roundRect">
              <a:avLst>
                <a:gd name="adj" fmla="val 9804"/>
              </a:avLst>
            </a:prstGeom>
            <a:gradFill>
              <a:gsLst>
                <a:gs pos="25000">
                  <a:srgbClr val="D82435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 dirty="0"/>
            </a:p>
          </p:txBody>
        </p:sp>
        <p:sp>
          <p:nvSpPr>
            <p:cNvPr id="32" name="Freeform 54">
              <a:extLst>
                <a:ext uri="{FF2B5EF4-FFF2-40B4-BE49-F238E27FC236}">
                  <a16:creationId xmlns:a16="http://schemas.microsoft.com/office/drawing/2014/main" id="{33245D82-34D9-4671-9065-D7FD59AD242D}"/>
                </a:ext>
              </a:extLst>
            </p:cNvPr>
            <p:cNvSpPr/>
            <p:nvPr/>
          </p:nvSpPr>
          <p:spPr>
            <a:xfrm>
              <a:off x="16150298" y="1825625"/>
              <a:ext cx="1263455" cy="1154994"/>
            </a:xfrm>
            <a:custGeom>
              <a:avLst/>
              <a:gdLst>
                <a:gd name="connsiteX0" fmla="*/ 784891 w 1263455"/>
                <a:gd name="connsiteY0" fmla="*/ 0 h 1154994"/>
                <a:gd name="connsiteX1" fmla="*/ 866530 w 1263455"/>
                <a:gd name="connsiteY1" fmla="*/ 33816 h 1154994"/>
                <a:gd name="connsiteX2" fmla="*/ 1263455 w 1263455"/>
                <a:gd name="connsiteY2" fmla="*/ 430740 h 1154994"/>
                <a:gd name="connsiteX3" fmla="*/ 1255671 w 1263455"/>
                <a:gd name="connsiteY3" fmla="*/ 458346 h 1154994"/>
                <a:gd name="connsiteX4" fmla="*/ 430298 w 1263455"/>
                <a:gd name="connsiteY4" fmla="*/ 1139960 h 1154994"/>
                <a:gd name="connsiteX5" fmla="*/ 322280 w 1263455"/>
                <a:gd name="connsiteY5" fmla="*/ 1154994 h 1154994"/>
                <a:gd name="connsiteX6" fmla="*/ 33816 w 1263455"/>
                <a:gd name="connsiteY6" fmla="*/ 866530 h 1154994"/>
                <a:gd name="connsiteX7" fmla="*/ 33816 w 1263455"/>
                <a:gd name="connsiteY7" fmla="*/ 703252 h 1154994"/>
                <a:gd name="connsiteX8" fmla="*/ 703252 w 1263455"/>
                <a:gd name="connsiteY8" fmla="*/ 33816 h 1154994"/>
                <a:gd name="connsiteX9" fmla="*/ 784891 w 1263455"/>
                <a:gd name="connsiteY9" fmla="*/ 0 h 115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3455" h="1154994">
                  <a:moveTo>
                    <a:pt x="784891" y="0"/>
                  </a:moveTo>
                  <a:cubicBezTo>
                    <a:pt x="814439" y="0"/>
                    <a:pt x="843986" y="11272"/>
                    <a:pt x="866530" y="33816"/>
                  </a:cubicBezTo>
                  <a:lnTo>
                    <a:pt x="1263455" y="430740"/>
                  </a:lnTo>
                  <a:lnTo>
                    <a:pt x="1255671" y="458346"/>
                  </a:lnTo>
                  <a:cubicBezTo>
                    <a:pt x="1138321" y="802435"/>
                    <a:pt x="822483" y="1066770"/>
                    <a:pt x="430298" y="1139960"/>
                  </a:cubicBezTo>
                  <a:lnTo>
                    <a:pt x="322280" y="1154994"/>
                  </a:lnTo>
                  <a:lnTo>
                    <a:pt x="33816" y="866530"/>
                  </a:lnTo>
                  <a:cubicBezTo>
                    <a:pt x="-11272" y="821442"/>
                    <a:pt x="-11272" y="748340"/>
                    <a:pt x="33816" y="703252"/>
                  </a:cubicBezTo>
                  <a:lnTo>
                    <a:pt x="703252" y="33816"/>
                  </a:lnTo>
                  <a:cubicBezTo>
                    <a:pt x="725796" y="11272"/>
                    <a:pt x="755344" y="0"/>
                    <a:pt x="784891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60AF30B9-585C-4013-B615-E363B4699381}"/>
              </a:ext>
            </a:extLst>
          </p:cNvPr>
          <p:cNvSpPr txBox="1"/>
          <p:nvPr/>
        </p:nvSpPr>
        <p:spPr>
          <a:xfrm>
            <a:off x="2053058" y="1950866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FFFF"/>
                </a:solidFill>
              </a:rPr>
              <a:t>Ic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6C5F895-B2D1-4E6E-8599-B50B69B68F9F}"/>
              </a:ext>
            </a:extLst>
          </p:cNvPr>
          <p:cNvSpPr txBox="1"/>
          <p:nvPr/>
        </p:nvSpPr>
        <p:spPr>
          <a:xfrm>
            <a:off x="5940519" y="1950866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FFFF"/>
                </a:solidFill>
              </a:rPr>
              <a:t>Ic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039AC51-8FEA-43C7-B998-D3EA31BD7034}"/>
              </a:ext>
            </a:extLst>
          </p:cNvPr>
          <p:cNvSpPr txBox="1"/>
          <p:nvPr/>
        </p:nvSpPr>
        <p:spPr>
          <a:xfrm>
            <a:off x="9668704" y="1950866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FFFF"/>
                </a:solidFill>
              </a:rPr>
              <a:t>Icon</a:t>
            </a:r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ADB7542E-BB7A-4E12-A7B2-848184F169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4" name="Slide Number Placeholder 3">
            <a:extLst>
              <a:ext uri="{FF2B5EF4-FFF2-40B4-BE49-F238E27FC236}">
                <a16:creationId xmlns:a16="http://schemas.microsoft.com/office/drawing/2014/main" id="{0F281FBD-821E-4BC6-88B8-404A1F0D26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722876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640B36-74F8-4405-A123-6C74512E8F90}" type="datetime1">
              <a:rPr lang="id-ID" smtClean="0"/>
              <a:t>20/08/2025</a:t>
            </a:fld>
            <a:endParaRPr lang="id-ID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ar-SA" dirty="0"/>
              <a:t>شركة "كفاءة" التميز</a:t>
            </a:r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F5E4-35CF-4C29-B9F8-D683A03DA2A9}" type="slidenum">
              <a:rPr lang="id-ID" smtClean="0"/>
              <a:t>‹#›</a:t>
            </a:fld>
            <a:endParaRPr lang="id-ID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" name="Group 5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Freeform 6"/>
            <p:cNvSpPr/>
            <p:nvPr/>
          </p:nvSpPr>
          <p:spPr>
            <a:xfrm>
              <a:off x="1" y="0"/>
              <a:ext cx="10755567" cy="6858000"/>
            </a:xfrm>
            <a:custGeom>
              <a:avLst/>
              <a:gdLst>
                <a:gd name="connsiteX0" fmla="*/ 0 w 10778328"/>
                <a:gd name="connsiteY0" fmla="*/ 0 h 6858000"/>
                <a:gd name="connsiteX1" fmla="*/ 8652602 w 10778328"/>
                <a:gd name="connsiteY1" fmla="*/ 0 h 6858000"/>
                <a:gd name="connsiteX2" fmla="*/ 10305791 w 10778328"/>
                <a:gd name="connsiteY2" fmla="*/ 1653189 h 6858000"/>
                <a:gd name="connsiteX3" fmla="*/ 10305791 w 10778328"/>
                <a:gd name="connsiteY3" fmla="*/ 3934802 h 6858000"/>
                <a:gd name="connsiteX4" fmla="*/ 7382593 w 10778328"/>
                <a:gd name="connsiteY4" fmla="*/ 6858000 h 6858000"/>
                <a:gd name="connsiteX5" fmla="*/ 0 w 10778328"/>
                <a:gd name="connsiteY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78328" h="6858000">
                  <a:moveTo>
                    <a:pt x="0" y="0"/>
                  </a:moveTo>
                  <a:lnTo>
                    <a:pt x="8652602" y="0"/>
                  </a:lnTo>
                  <a:lnTo>
                    <a:pt x="10305791" y="1653189"/>
                  </a:lnTo>
                  <a:cubicBezTo>
                    <a:pt x="10935841" y="2283239"/>
                    <a:pt x="10935841" y="3304752"/>
                    <a:pt x="10305791" y="3934802"/>
                  </a:cubicBezTo>
                  <a:lnTo>
                    <a:pt x="7382593" y="6858000"/>
                  </a:lnTo>
                  <a:lnTo>
                    <a:pt x="0" y="6858000"/>
                  </a:lnTo>
                  <a:close/>
                </a:path>
              </a:pathLst>
            </a:custGeom>
            <a:gradFill>
              <a:gsLst>
                <a:gs pos="80000">
                  <a:schemeClr val="bg1"/>
                </a:gs>
                <a:gs pos="21000">
                  <a:schemeClr val="bg1">
                    <a:alpha val="44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  <p:sp>
          <p:nvSpPr>
            <p:cNvPr id="8" name="Freeform 7"/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>
                <a:gd name="connsiteX0" fmla="*/ 86343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7367004 w 12192000"/>
                <a:gd name="connsiteY3" fmla="*/ 6858000 h 6858000"/>
                <a:gd name="connsiteX4" fmla="*/ 10284029 w 12192000"/>
                <a:gd name="connsiteY4" fmla="*/ 3934802 h 6858000"/>
                <a:gd name="connsiteX5" fmla="*/ 10284029 w 12192000"/>
                <a:gd name="connsiteY5" fmla="*/ 1653189 h 6858000"/>
                <a:gd name="connsiteX6" fmla="*/ 0 w 12192000"/>
                <a:gd name="connsiteY6" fmla="*/ 0 h 6858000"/>
                <a:gd name="connsiteX7" fmla="*/ 1 w 12192000"/>
                <a:gd name="connsiteY7" fmla="*/ 0 h 6858000"/>
                <a:gd name="connsiteX8" fmla="*/ 1 w 12192000"/>
                <a:gd name="connsiteY8" fmla="*/ 6858000 h 6858000"/>
                <a:gd name="connsiteX9" fmla="*/ 0 w 12192000"/>
                <a:gd name="connsiteY9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92000" h="6858000">
                  <a:moveTo>
                    <a:pt x="8634331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7367004" y="6858000"/>
                  </a:lnTo>
                  <a:lnTo>
                    <a:pt x="10284029" y="3934802"/>
                  </a:lnTo>
                  <a:cubicBezTo>
                    <a:pt x="10912748" y="3304752"/>
                    <a:pt x="10912748" y="2283239"/>
                    <a:pt x="10284029" y="1653189"/>
                  </a:cubicBezTo>
                  <a:close/>
                  <a:moveTo>
                    <a:pt x="0" y="0"/>
                  </a:moveTo>
                  <a:lnTo>
                    <a:pt x="1" y="0"/>
                  </a:lnTo>
                  <a:lnTo>
                    <a:pt x="1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72000">
                  <a:srgbClr val="D82435">
                    <a:alpha val="11000"/>
                  </a:srgbClr>
                </a:gs>
                <a:gs pos="13000">
                  <a:srgbClr val="D82435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1"/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905" y="664029"/>
            <a:ext cx="2814433" cy="960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829154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Right 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CEF01BE-9E42-4FE5-9487-09C60C31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7208" y="6315376"/>
            <a:ext cx="1032856" cy="438334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BFC63C32-5A1A-432C-93F6-369417C4E7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1" y="350121"/>
            <a:ext cx="11506200" cy="348380"/>
          </a:xfrm>
        </p:spPr>
        <p:txBody>
          <a:bodyPr lIns="0" tIns="0" rIns="0" bIns="0" anchor="t">
            <a:noAutofit/>
          </a:bodyPr>
          <a:lstStyle>
            <a:lvl1pPr algn="r" rtl="1">
              <a:defRPr sz="2400">
                <a:latin typeface="HelveticaNeueLT Arabic 75 Bold" panose="020B0804020202020204" pitchFamily="34" charset="-78"/>
                <a:cs typeface="HelveticaNeueLT Arabic 75 Bold" panose="020B0804020202020204" pitchFamily="34" charset="-7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62A742F-8631-47CC-B446-1A8F8EDA9BBA}"/>
              </a:ext>
            </a:extLst>
          </p:cNvPr>
          <p:cNvCxnSpPr>
            <a:cxnSpLocks/>
          </p:cNvCxnSpPr>
          <p:nvPr userDrawn="1"/>
        </p:nvCxnSpPr>
        <p:spPr>
          <a:xfrm>
            <a:off x="1171575" y="6534543"/>
            <a:ext cx="94202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2B8B1CF-033A-4BE7-9D9A-A3B7B169AE80}"/>
              </a:ext>
            </a:extLst>
          </p:cNvPr>
          <p:cNvSpPr/>
          <p:nvPr userDrawn="1"/>
        </p:nvSpPr>
        <p:spPr>
          <a:xfrm>
            <a:off x="342901" y="6410325"/>
            <a:ext cx="629628" cy="248436"/>
          </a:xfrm>
          <a:prstGeom prst="roundRect">
            <a:avLst>
              <a:gd name="adj" fmla="val 50000"/>
            </a:avLst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98504DD-FBCF-4E0F-83C8-D26D6DF31E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10" y="6448505"/>
            <a:ext cx="358756" cy="172076"/>
          </a:xfrm>
        </p:spPr>
        <p:txBody>
          <a:bodyPr lIns="0" tIns="0" rIns="0" bIns="0" anchor="ctr"/>
          <a:lstStyle>
            <a:lvl1pPr algn="ctr">
              <a:defRPr sz="1000">
                <a:solidFill>
                  <a:schemeClr val="bg1"/>
                </a:solidFill>
                <a:latin typeface="+mj-lt"/>
                <a:ea typeface="Nexa Light" charset="0"/>
                <a:cs typeface="Nexa Light" charset="0"/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737214E3-882E-492B-9026-25A02187F19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2900" y="1045029"/>
            <a:ext cx="11506200" cy="5065485"/>
          </a:xfrm>
        </p:spPr>
        <p:txBody>
          <a:bodyPr lIns="0" tIns="0" rIns="0" bIns="0">
            <a:normAutofit/>
          </a:bodyPr>
          <a:lstStyle>
            <a:lvl1pPr marL="228600" indent="-228600" algn="r" rtl="1">
              <a:buFont typeface="Verdana" panose="020B0604030504040204" pitchFamily="34" charset="0"/>
              <a:buChar char="‹"/>
              <a:defRPr sz="1600">
                <a:latin typeface="+mn-lt"/>
              </a:defRPr>
            </a:lvl1pPr>
            <a:lvl2pPr marL="685800" indent="-228600" algn="r" rtl="1">
              <a:buFont typeface="Verdana" panose="020B0604030504040204" pitchFamily="34" charset="0"/>
              <a:buChar char="‹"/>
              <a:defRPr sz="1400">
                <a:latin typeface="+mn-lt"/>
              </a:defRPr>
            </a:lvl2pPr>
            <a:lvl3pPr marL="1143000" indent="-228600" algn="r" rtl="1">
              <a:buFont typeface="Verdana" panose="020B0604030504040204" pitchFamily="34" charset="0"/>
              <a:buChar char="‹"/>
              <a:defRPr sz="1200">
                <a:latin typeface="+mn-lt"/>
              </a:defRPr>
            </a:lvl3pPr>
            <a:lvl4pPr marL="1600200" indent="-228600" algn="r" rtl="1">
              <a:buFont typeface="Verdana" panose="020B0604030504040204" pitchFamily="34" charset="0"/>
              <a:buChar char="‹"/>
              <a:defRPr sz="1100">
                <a:latin typeface="+mn-lt"/>
              </a:defRPr>
            </a:lvl4pPr>
            <a:lvl5pPr marL="2057400" indent="-228600" algn="r" rtl="1">
              <a:buFont typeface="Verdana" panose="020B0604030504040204" pitchFamily="34" charset="0"/>
              <a:buChar char="‹"/>
              <a:defRPr sz="11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4454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16">
          <p15:clr>
            <a:srgbClr val="FBAE40"/>
          </p15:clr>
        </p15:guide>
        <p15:guide id="6" pos="7464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Left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BFC63C32-5A1A-432C-93F6-369417C4E7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1" y="350121"/>
            <a:ext cx="11506200" cy="348380"/>
          </a:xfrm>
        </p:spPr>
        <p:txBody>
          <a:bodyPr lIns="0" tIns="0" rIns="0" bIns="0" anchor="t">
            <a:noAutofit/>
          </a:bodyPr>
          <a:lstStyle>
            <a:lvl1pPr algn="l" rtl="0">
              <a:defRPr sz="2400">
                <a:latin typeface="HelveticaNeueLT Arabic 75 Bold" panose="020B0804020202020204" pitchFamily="34" charset="-78"/>
                <a:cs typeface="HelveticaNeueLT Arabic 75 Bold" panose="020B0804020202020204" pitchFamily="34" charset="-7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62A742F-8631-47CC-B446-1A8F8EDA9BBA}"/>
              </a:ext>
            </a:extLst>
          </p:cNvPr>
          <p:cNvCxnSpPr>
            <a:cxnSpLocks/>
          </p:cNvCxnSpPr>
          <p:nvPr userDrawn="1"/>
        </p:nvCxnSpPr>
        <p:spPr>
          <a:xfrm>
            <a:off x="1171575" y="6534543"/>
            <a:ext cx="94202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2B8B1CF-033A-4BE7-9D9A-A3B7B169AE80}"/>
              </a:ext>
            </a:extLst>
          </p:cNvPr>
          <p:cNvSpPr/>
          <p:nvPr userDrawn="1"/>
        </p:nvSpPr>
        <p:spPr>
          <a:xfrm>
            <a:off x="342901" y="6410325"/>
            <a:ext cx="629628" cy="248436"/>
          </a:xfrm>
          <a:prstGeom prst="roundRect">
            <a:avLst>
              <a:gd name="adj" fmla="val 50000"/>
            </a:avLst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98504DD-FBCF-4E0F-83C8-D26D6DF31E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10" y="6448505"/>
            <a:ext cx="358756" cy="172076"/>
          </a:xfrm>
        </p:spPr>
        <p:txBody>
          <a:bodyPr lIns="0" tIns="0" rIns="0" bIns="0" anchor="ctr"/>
          <a:lstStyle>
            <a:lvl1pPr algn="ctr">
              <a:defRPr sz="1000">
                <a:solidFill>
                  <a:schemeClr val="bg1"/>
                </a:solidFill>
                <a:latin typeface="HelveticaNeueLT Arabic 75 Bold" panose="020B0804020202020204" pitchFamily="34" charset="-78"/>
                <a:ea typeface="HelveticaNeueLT Arabic 75 Bold" panose="020B0804020202020204" pitchFamily="34" charset="-78"/>
                <a:cs typeface="HelveticaNeueLT Arabic 75 Bold" panose="020B0804020202020204" pitchFamily="34" charset="-78"/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737214E3-882E-492B-9026-25A02187F19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2900" y="1045029"/>
            <a:ext cx="11506200" cy="5065485"/>
          </a:xfrm>
        </p:spPr>
        <p:txBody>
          <a:bodyPr lIns="0" tIns="0" rIns="0" bIns="0">
            <a:normAutofit/>
          </a:bodyPr>
          <a:lstStyle>
            <a:lvl1pPr marL="228600" indent="-228600" algn="l" rtl="0">
              <a:buFont typeface="Verdana" panose="020B0604030504040204" pitchFamily="34" charset="0"/>
              <a:buChar char="›"/>
              <a:defRPr sz="1600">
                <a:latin typeface="+mn-lt"/>
              </a:defRPr>
            </a:lvl1pPr>
            <a:lvl2pPr marL="685800" indent="-228600" algn="l" rtl="0">
              <a:buFont typeface="Verdana" panose="020B0604030504040204" pitchFamily="34" charset="0"/>
              <a:buChar char="›"/>
              <a:defRPr sz="1400">
                <a:latin typeface="+mn-lt"/>
              </a:defRPr>
            </a:lvl2pPr>
            <a:lvl3pPr marL="1143000" indent="-228600" algn="l" rtl="0">
              <a:buFont typeface="Verdana" panose="020B0604030504040204" pitchFamily="34" charset="0"/>
              <a:buChar char="›"/>
              <a:defRPr sz="1200">
                <a:latin typeface="+mn-lt"/>
              </a:defRPr>
            </a:lvl3pPr>
            <a:lvl4pPr marL="1600200" indent="-228600" algn="l" rtl="0">
              <a:buFont typeface="Verdana" panose="020B0604030504040204" pitchFamily="34" charset="0"/>
              <a:buChar char="›"/>
              <a:defRPr sz="1100">
                <a:latin typeface="+mn-lt"/>
              </a:defRPr>
            </a:lvl4pPr>
            <a:lvl5pPr marL="2057400" indent="-228600" algn="l" rtl="0">
              <a:buFont typeface="Verdana" panose="020B0604030504040204" pitchFamily="34" charset="0"/>
              <a:buChar char="›"/>
              <a:defRPr sz="11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399463-470B-4212-A8C9-E0FB395B0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7208" y="6315376"/>
            <a:ext cx="1032856" cy="4383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6291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16">
          <p15:clr>
            <a:srgbClr val="FBAE40"/>
          </p15:clr>
        </p15:guide>
        <p15:guide id="6" pos="7464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">
            <a:extLst>
              <a:ext uri="{FF2B5EF4-FFF2-40B4-BE49-F238E27FC236}">
                <a16:creationId xmlns:a16="http://schemas.microsoft.com/office/drawing/2014/main" id="{98684A94-858C-4ED7-AEA8-0341299C8757}"/>
              </a:ext>
            </a:extLst>
          </p:cNvPr>
          <p:cNvSpPr/>
          <p:nvPr userDrawn="1"/>
        </p:nvSpPr>
        <p:spPr>
          <a:xfrm flipH="1">
            <a:off x="1345474" y="0"/>
            <a:ext cx="1084652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64290EF-7788-4A0A-912F-5F46C944F7A2}"/>
              </a:ext>
            </a:extLst>
          </p:cNvPr>
          <p:cNvCxnSpPr/>
          <p:nvPr userDrawn="1"/>
        </p:nvCxnSpPr>
        <p:spPr>
          <a:xfrm>
            <a:off x="10764341" y="2463800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4FACADC2-B5D2-4F92-9AD0-5322BCFB12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962" y="5715007"/>
            <a:ext cx="1704191" cy="72324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9865472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10">
            <a:extLst>
              <a:ext uri="{FF2B5EF4-FFF2-40B4-BE49-F238E27FC236}">
                <a16:creationId xmlns:a16="http://schemas.microsoft.com/office/drawing/2014/main" id="{B2BC91AC-0017-4A6B-92BF-0C9B2CD3C23E}"/>
              </a:ext>
            </a:extLst>
          </p:cNvPr>
          <p:cNvSpPr txBox="1">
            <a:spLocks/>
          </p:cNvSpPr>
          <p:nvPr userDrawn="1"/>
        </p:nvSpPr>
        <p:spPr>
          <a:xfrm>
            <a:off x="791332" y="6697852"/>
            <a:ext cx="3024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FD5C379-5A89-45FF-A52E-BEDE674366C2}"/>
              </a:ext>
            </a:extLst>
          </p:cNvPr>
          <p:cNvSpPr/>
          <p:nvPr userDrawn="1"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AB5B2CF-A1A5-4240-86B9-BC17E22872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7" y="6121682"/>
            <a:ext cx="4369771" cy="609031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161B4AE-D9E7-43DE-A7B7-37CAAAF0423F}"/>
              </a:ext>
            </a:extLst>
          </p:cNvPr>
          <p:cNvSpPr/>
          <p:nvPr userDrawn="1"/>
        </p:nvSpPr>
        <p:spPr>
          <a:xfrm>
            <a:off x="734330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 sz="1801"/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5B808912-CA72-4FD1-A58B-D5E275D8B92A}"/>
              </a:ext>
            </a:extLst>
          </p:cNvPr>
          <p:cNvSpPr/>
          <p:nvPr userDrawn="1"/>
        </p:nvSpPr>
        <p:spPr>
          <a:xfrm flipV="1">
            <a:off x="11220719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2F8A7B3F-7296-41EF-AF84-5F88CE596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3623" y="6281640"/>
            <a:ext cx="516693" cy="552823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690E5D9-07D9-4721-878F-53C1A8BBE2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81900" y="6721767"/>
            <a:ext cx="2743200" cy="154799"/>
          </a:xfrm>
        </p:spPr>
        <p:txBody>
          <a:bodyPr tIns="36000" bIns="36000"/>
          <a:lstStyle>
            <a:lvl1pPr rtl="0">
              <a:defRPr sz="700">
                <a:solidFill>
                  <a:srgbClr val="D82435"/>
                </a:solidFill>
                <a:latin typeface="Nexa Light" panose="02000000000000000000" pitchFamily="50" charset="0"/>
              </a:defRPr>
            </a:lvl1pPr>
          </a:lstStyle>
          <a:p>
            <a:fld id="{5E577EF0-183B-4320-B4B7-C1E757B38FE2}" type="datetime1">
              <a:rPr lang="id-ID" smtClean="0"/>
              <a:t>20/08/2025</a:t>
            </a:fld>
            <a:endParaRPr lang="id-ID"/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6D37506A-C904-4A81-9531-9602358D5D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lIns="0" tIns="36000" rIns="0" bIns="36000">
            <a:noAutofit/>
          </a:bodyPr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4D470D9-2826-4919-90A0-6AEFE8C6B84D}"/>
              </a:ext>
            </a:extLst>
          </p:cNvPr>
          <p:cNvSpPr/>
          <p:nvPr userDrawn="1"/>
        </p:nvSpPr>
        <p:spPr>
          <a:xfrm>
            <a:off x="4212825" y="6676851"/>
            <a:ext cx="424537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SA" sz="900" b="1" dirty="0">
                <a:solidFill>
                  <a:schemeClr val="bg1"/>
                </a:solidFill>
                <a:latin typeface="HelveticaNeueLT Arabic 75 Bold" panose="020B0804020202020204" pitchFamily="34" charset="-78"/>
                <a:cs typeface="HelveticaNeueLT Arabic 75 Bold" panose="020B0804020202020204" pitchFamily="34" charset="-78"/>
              </a:rPr>
              <a:t>هذه الوثيقة سرية ويحظر أي استخدام غير مصرح به بدون إذن من شركة "كفاءة"</a:t>
            </a:r>
            <a:endParaRPr lang="en-US" sz="8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406121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EB2F3D-A1B6-4041-BBFE-985F517BC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9082E27-77B3-4C9C-AAAC-1A63467A71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9AA77C-0961-4426-B7A7-8D08C21967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4411D-0EC7-43F1-B579-44A24DE88947}" type="datetimeFigureOut">
              <a:rPr lang="en-US" smtClean="0"/>
              <a:t>8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A69656-F55B-4A28-A638-E7BC765E52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B284E7-D124-411A-870B-541FF9BA4D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65D26-D42E-4099-8762-8AAE5845B1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98519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49721"/>
          </a:xfrm>
        </p:spPr>
        <p:txBody>
          <a:bodyPr>
            <a:normAutofit/>
          </a:bodyPr>
          <a:lstStyle>
            <a:lvl1pPr algn="l">
              <a:defRPr sz="2400">
                <a:latin typeface="HelveticaNeueLT Arabic 75 Bold" panose="020B0804020202020204" pitchFamily="34" charset="-78"/>
                <a:ea typeface="HelveticaNeueLT Arabic 75 Bold" panose="020B0804020202020204" pitchFamily="34" charset="-78"/>
                <a:cs typeface="HelveticaNeueLT Arabic 75 Bold" panose="020B0804020202020204" pitchFamily="34" charset="-7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C8535-0720-954B-A84C-FD95405C89A2}" type="datetime1">
              <a:rPr lang="en-US" smtClean="0"/>
              <a:t>8/20/2025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d-ID"/>
              <a:t>Confidential</a:t>
            </a:r>
          </a:p>
        </p:txBody>
      </p:sp>
      <p:grpSp>
        <p:nvGrpSpPr>
          <p:cNvPr id="3" name="Group 2"/>
          <p:cNvGrpSpPr/>
          <p:nvPr userDrawn="1"/>
        </p:nvGrpSpPr>
        <p:grpSpPr>
          <a:xfrm flipH="1">
            <a:off x="0" y="6116470"/>
            <a:ext cx="12192000" cy="756770"/>
            <a:chOff x="0" y="6116470"/>
            <a:chExt cx="12192000" cy="75677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0839B7B-1303-48E4-93E0-593AD68102DE}"/>
                </a:ext>
              </a:extLst>
            </p:cNvPr>
            <p:cNvSpPr/>
            <p:nvPr userDrawn="1"/>
          </p:nvSpPr>
          <p:spPr>
            <a:xfrm>
              <a:off x="0" y="6718300"/>
              <a:ext cx="12192000" cy="154940"/>
            </a:xfrm>
            <a:prstGeom prst="rect">
              <a:avLst/>
            </a:prstGeom>
            <a:solidFill>
              <a:srgbClr val="C1C1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B184FA1-6148-48F7-A021-D6B98DCDA93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663"/>
            <a:stretch/>
          </p:blipFill>
          <p:spPr>
            <a:xfrm flipH="1">
              <a:off x="8185109" y="6116470"/>
              <a:ext cx="4004148" cy="609031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BF03710-0E0F-4B0B-BFA1-60E8A0D4793B}"/>
                </a:ext>
              </a:extLst>
            </p:cNvPr>
            <p:cNvSpPr/>
            <p:nvPr userDrawn="1"/>
          </p:nvSpPr>
          <p:spPr>
            <a:xfrm>
              <a:off x="11056028" y="6613451"/>
              <a:ext cx="415743" cy="244549"/>
            </a:xfrm>
            <a:prstGeom prst="rect">
              <a:avLst/>
            </a:prstGeom>
            <a:solidFill>
              <a:srgbClr val="D8243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id-ID" sz="1801"/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8520" y="6553162"/>
            <a:ext cx="418486" cy="365125"/>
          </a:xfrm>
        </p:spPr>
        <p:txBody>
          <a:bodyPr/>
          <a:lstStyle>
            <a:lvl1pPr algn="ctr">
              <a:defRPr sz="1000">
                <a:solidFill>
                  <a:schemeClr val="bg1"/>
                </a:solidFill>
                <a:latin typeface="Nexa Light" charset="0"/>
                <a:ea typeface="Nexa Light" charset="0"/>
                <a:cs typeface="Nexa Light" charset="0"/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C2F6244-4702-45FC-A95C-55900A0EF428}"/>
              </a:ext>
            </a:extLst>
          </p:cNvPr>
          <p:cNvSpPr/>
          <p:nvPr userDrawn="1"/>
        </p:nvSpPr>
        <p:spPr>
          <a:xfrm>
            <a:off x="3908021" y="6662996"/>
            <a:ext cx="424537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SA" sz="1050" b="1">
                <a:solidFill>
                  <a:schemeClr val="bg1"/>
                </a:solidFill>
                <a:latin typeface="HelveticaNeueLT Arabic 75 Bold" panose="020B0804020202020204" pitchFamily="34" charset="-78"/>
                <a:cs typeface="HelveticaNeueLT Arabic 75 Bold" panose="020B0804020202020204" pitchFamily="34" charset="-78"/>
              </a:rPr>
              <a:t>هذه الوثيقة سرية ويحظر أي استخدام غير مصرح به بدون إذن من شركة كفاءة</a:t>
            </a:r>
            <a:endParaRPr lang="en-US" sz="1000" b="1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C09E0047-5FD2-4622-BF89-F983F7BBF048}"/>
              </a:ext>
            </a:extLst>
          </p:cNvPr>
          <p:cNvSpPr/>
          <p:nvPr userDrawn="1"/>
        </p:nvSpPr>
        <p:spPr>
          <a:xfrm flipV="1">
            <a:off x="10554511" y="647278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9CF6847-6EDE-400B-A4CA-1A9D93DFCB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0853" y="6385195"/>
            <a:ext cx="316572" cy="4110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780192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137E3-3D99-41B2-95D7-30814A2169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768E81-5D27-4AC4-9547-762879BE03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9850" y="1598065"/>
            <a:ext cx="3510350" cy="4574135"/>
          </a:xfrm>
        </p:spPr>
        <p:txBody>
          <a:bodyPr>
            <a:normAutofit/>
          </a:bodyPr>
          <a:lstStyle>
            <a:lvl1pPr marL="339725" indent="-228600" algn="just">
              <a:spcAft>
                <a:spcPts val="1200"/>
              </a:spcAft>
              <a:defRPr sz="1400"/>
            </a:lvl1pPr>
            <a:lvl2pPr marL="339725" indent="-228600" algn="just">
              <a:spcAft>
                <a:spcPts val="1200"/>
              </a:spcAft>
              <a:defRPr sz="1200"/>
            </a:lvl2pPr>
            <a:lvl3pPr marL="339725" indent="-228600" algn="just">
              <a:spcAft>
                <a:spcPts val="1200"/>
              </a:spcAft>
              <a:defRPr sz="1100"/>
            </a:lvl3pPr>
            <a:lvl4pPr marL="339725" indent="-228600" algn="just">
              <a:spcAft>
                <a:spcPts val="1200"/>
              </a:spcAft>
              <a:defRPr sz="1050"/>
            </a:lvl4pPr>
            <a:lvl5pPr marL="339725" indent="-228600" algn="just">
              <a:spcAft>
                <a:spcPts val="120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A5F4FD7A-EA9F-4552-B3F6-30AC397A71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821E9E9-FC1A-4B4C-B58D-8D6B71B99AE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43930" y="1598065"/>
            <a:ext cx="3510350" cy="4574135"/>
          </a:xfrm>
        </p:spPr>
        <p:txBody>
          <a:bodyPr vert="horz" lIns="91440" tIns="45720" rIns="91440" bIns="45720" rtlCol="0">
            <a:normAutofit/>
          </a:bodyPr>
          <a:lstStyle>
            <a:lvl1pPr algn="just">
              <a:spcAft>
                <a:spcPts val="1200"/>
              </a:spcAft>
              <a:defRPr lang="en-US" sz="1400" smtClean="0"/>
            </a:lvl1pPr>
            <a:lvl2pPr algn="just">
              <a:spcAft>
                <a:spcPts val="1200"/>
              </a:spcAft>
              <a:defRPr lang="en-US" sz="1200" smtClean="0"/>
            </a:lvl2pPr>
            <a:lvl3pPr algn="just">
              <a:spcAft>
                <a:spcPts val="1200"/>
              </a:spcAft>
              <a:defRPr lang="en-US" sz="1100" smtClean="0"/>
            </a:lvl3pPr>
            <a:lvl4pPr algn="just">
              <a:spcAft>
                <a:spcPts val="1200"/>
              </a:spcAft>
              <a:defRPr lang="en-US" sz="1050" smtClean="0"/>
            </a:lvl4pPr>
            <a:lvl5pPr algn="just">
              <a:spcAft>
                <a:spcPts val="1200"/>
              </a:spcAft>
              <a:defRPr lang="en-US" sz="1050"/>
            </a:lvl5pPr>
          </a:lstStyle>
          <a:p>
            <a:pPr marL="339725" lvl="0"/>
            <a:r>
              <a:rPr lang="en-US"/>
              <a:t>Click to edit Master text styles</a:t>
            </a:r>
          </a:p>
          <a:p>
            <a:pPr marL="339725" lvl="1"/>
            <a:r>
              <a:rPr lang="en-US"/>
              <a:t>Second level</a:t>
            </a:r>
          </a:p>
          <a:p>
            <a:pPr marL="339725" lvl="2"/>
            <a:r>
              <a:rPr lang="en-US"/>
              <a:t>Third level</a:t>
            </a:r>
          </a:p>
          <a:p>
            <a:pPr marL="339725" lvl="3"/>
            <a:r>
              <a:rPr lang="en-US"/>
              <a:t>Fourth level</a:t>
            </a:r>
          </a:p>
          <a:p>
            <a:pPr marL="339725" lvl="4"/>
            <a:r>
              <a:rPr lang="en-US"/>
              <a:t>Fifth level</a:t>
            </a:r>
            <a:endParaRPr lang="en-US" dirty="0"/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2E066841-377F-4E7E-9967-311FF4F3122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058011" y="1598065"/>
            <a:ext cx="3510350" cy="4574135"/>
          </a:xfrm>
        </p:spPr>
        <p:txBody>
          <a:bodyPr vert="horz" lIns="91440" tIns="45720" rIns="91440" bIns="45720" rtlCol="0">
            <a:normAutofit/>
          </a:bodyPr>
          <a:lstStyle>
            <a:lvl1pPr algn="just">
              <a:spcAft>
                <a:spcPts val="1200"/>
              </a:spcAft>
              <a:defRPr lang="en-US" sz="1400" smtClean="0"/>
            </a:lvl1pPr>
            <a:lvl2pPr algn="just">
              <a:spcAft>
                <a:spcPts val="1200"/>
              </a:spcAft>
              <a:defRPr lang="en-US" sz="1200" smtClean="0"/>
            </a:lvl2pPr>
            <a:lvl3pPr algn="just">
              <a:spcAft>
                <a:spcPts val="1200"/>
              </a:spcAft>
              <a:defRPr lang="en-US" sz="1100" smtClean="0"/>
            </a:lvl3pPr>
            <a:lvl4pPr algn="just">
              <a:spcAft>
                <a:spcPts val="1200"/>
              </a:spcAft>
              <a:defRPr lang="en-US" sz="1050" smtClean="0"/>
            </a:lvl4pPr>
            <a:lvl5pPr algn="just">
              <a:spcAft>
                <a:spcPts val="1200"/>
              </a:spcAft>
              <a:defRPr lang="en-US" sz="1050"/>
            </a:lvl5pPr>
          </a:lstStyle>
          <a:p>
            <a:pPr marL="339725" lvl="0"/>
            <a:r>
              <a:rPr lang="en-US"/>
              <a:t>Click to edit Master text styles</a:t>
            </a:r>
          </a:p>
          <a:p>
            <a:pPr marL="339725" lvl="1"/>
            <a:r>
              <a:rPr lang="en-US"/>
              <a:t>Second level</a:t>
            </a:r>
          </a:p>
          <a:p>
            <a:pPr marL="339725" lvl="2"/>
            <a:r>
              <a:rPr lang="en-US"/>
              <a:t>Third level</a:t>
            </a:r>
          </a:p>
          <a:p>
            <a:pPr marL="339725" lvl="3"/>
            <a:r>
              <a:rPr lang="en-US"/>
              <a:t>Fourth level</a:t>
            </a:r>
          </a:p>
          <a:p>
            <a:pPr marL="339725"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1A914EA-08F4-4B51-B455-F1F55B352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25BB42C3-A3ED-4D1D-960D-0060DCB302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17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Withou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137E3-3D99-41B2-95D7-30814A2169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768E81-5D27-4AC4-9547-762879BE03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9850" y="2198670"/>
            <a:ext cx="3164099" cy="39576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A5F4FD7A-EA9F-4552-B3F6-30AC397A71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821E9E9-FC1A-4B4C-B58D-8D6B71B99AE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13950" y="2198670"/>
            <a:ext cx="3164099" cy="39576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2E066841-377F-4E7E-9967-311FF4F3122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404261" y="2198670"/>
            <a:ext cx="3164099" cy="39576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18">
            <a:extLst>
              <a:ext uri="{FF2B5EF4-FFF2-40B4-BE49-F238E27FC236}">
                <a16:creationId xmlns:a16="http://schemas.microsoft.com/office/drawing/2014/main" id="{6E6B21D5-6327-42AE-B779-8BFB48752B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640" y="1605923"/>
            <a:ext cx="3164099" cy="452856"/>
          </a:xfrm>
          <a:solidFill>
            <a:srgbClr val="D82435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lang="en-US" sz="1400" kern="1200" dirty="0" smtClean="0">
                <a:solidFill>
                  <a:srgbClr val="FFFFFF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134A70D3-B164-4624-9FDB-771BE13F64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13950" y="1605923"/>
            <a:ext cx="3164099" cy="452856"/>
          </a:xfrm>
          <a:solidFill>
            <a:srgbClr val="D82435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lang="en-US" sz="1400" kern="1200" dirty="0" smtClean="0">
                <a:solidFill>
                  <a:srgbClr val="FFFFFF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2268C08B-A65C-43CD-8860-8E985542F6D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99251" y="1605923"/>
            <a:ext cx="3164099" cy="452856"/>
          </a:xfrm>
          <a:solidFill>
            <a:srgbClr val="D82435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lang="en-US" sz="1400" kern="1200" dirty="0" smtClean="0">
                <a:solidFill>
                  <a:srgbClr val="FFFFFF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9A9A830F-4499-4FA4-93C8-4795312E7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DCDFC2F8-ADC9-4B50-B72C-C314E4F437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520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82776E-BCE2-4EBF-BF18-EFF985DB6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92F8134-30D6-47DA-AD21-B905B0341C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85B3703F-D65F-43FF-A3F7-FE08866123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84357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fi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890ED3D3-CD70-4B7D-8328-B552640B064D}"/>
              </a:ext>
            </a:extLst>
          </p:cNvPr>
          <p:cNvSpPr/>
          <p:nvPr/>
        </p:nvSpPr>
        <p:spPr>
          <a:xfrm>
            <a:off x="0" y="6122020"/>
            <a:ext cx="12192000" cy="752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1CD35C-CA22-4140-84A9-0F27D39F7D0D}"/>
              </a:ext>
            </a:extLst>
          </p:cNvPr>
          <p:cNvSpPr/>
          <p:nvPr/>
        </p:nvSpPr>
        <p:spPr>
          <a:xfrm>
            <a:off x="-1" y="0"/>
            <a:ext cx="2787805" cy="688345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35EF8738-8595-4A6F-9FE6-BF52B734718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861001" y="1344700"/>
            <a:ext cx="1873763" cy="2134857"/>
          </a:xfrm>
          <a:custGeom>
            <a:avLst/>
            <a:gdLst>
              <a:gd name="connsiteX0" fmla="*/ 2 w 2085260"/>
              <a:gd name="connsiteY0" fmla="*/ 818407 h 2142622"/>
              <a:gd name="connsiteX1" fmla="*/ 1042630 w 2085260"/>
              <a:gd name="connsiteY1" fmla="*/ 0 h 2142622"/>
              <a:gd name="connsiteX2" fmla="*/ 2085258 w 2085260"/>
              <a:gd name="connsiteY2" fmla="*/ 818407 h 2142622"/>
              <a:gd name="connsiteX3" fmla="*/ 1687009 w 2085260"/>
              <a:gd name="connsiteY3" fmla="*/ 2142617 h 2142622"/>
              <a:gd name="connsiteX4" fmla="*/ 398251 w 2085260"/>
              <a:gd name="connsiteY4" fmla="*/ 2142617 h 2142622"/>
              <a:gd name="connsiteX5" fmla="*/ 2 w 2085260"/>
              <a:gd name="connsiteY5" fmla="*/ 818407 h 2142622"/>
              <a:gd name="connsiteX0" fmla="*/ 0 w 2004391"/>
              <a:gd name="connsiteY0" fmla="*/ 470064 h 2142617"/>
              <a:gd name="connsiteX1" fmla="*/ 961763 w 2004391"/>
              <a:gd name="connsiteY1" fmla="*/ 0 h 2142617"/>
              <a:gd name="connsiteX2" fmla="*/ 2004391 w 2004391"/>
              <a:gd name="connsiteY2" fmla="*/ 818407 h 2142617"/>
              <a:gd name="connsiteX3" fmla="*/ 1606142 w 2004391"/>
              <a:gd name="connsiteY3" fmla="*/ 2142617 h 2142617"/>
              <a:gd name="connsiteX4" fmla="*/ 317384 w 2004391"/>
              <a:gd name="connsiteY4" fmla="*/ 2142617 h 2142617"/>
              <a:gd name="connsiteX5" fmla="*/ 0 w 2004391"/>
              <a:gd name="connsiteY5" fmla="*/ 470064 h 2142617"/>
              <a:gd name="connsiteX0" fmla="*/ 0 w 1873763"/>
              <a:gd name="connsiteY0" fmla="*/ 470064 h 2142617"/>
              <a:gd name="connsiteX1" fmla="*/ 961763 w 1873763"/>
              <a:gd name="connsiteY1" fmla="*/ 0 h 2142617"/>
              <a:gd name="connsiteX2" fmla="*/ 1873763 w 1873763"/>
              <a:gd name="connsiteY2" fmla="*/ 457623 h 2142617"/>
              <a:gd name="connsiteX3" fmla="*/ 1606142 w 1873763"/>
              <a:gd name="connsiteY3" fmla="*/ 2142617 h 2142617"/>
              <a:gd name="connsiteX4" fmla="*/ 317384 w 1873763"/>
              <a:gd name="connsiteY4" fmla="*/ 2142617 h 2142617"/>
              <a:gd name="connsiteX5" fmla="*/ 0 w 1873763"/>
              <a:gd name="connsiteY5" fmla="*/ 470064 h 2142617"/>
              <a:gd name="connsiteX0" fmla="*/ 0 w 1873763"/>
              <a:gd name="connsiteY0" fmla="*/ 470064 h 2142617"/>
              <a:gd name="connsiteX1" fmla="*/ 961763 w 1873763"/>
              <a:gd name="connsiteY1" fmla="*/ 0 h 2142617"/>
              <a:gd name="connsiteX2" fmla="*/ 1873763 w 1873763"/>
              <a:gd name="connsiteY2" fmla="*/ 457623 h 2142617"/>
              <a:gd name="connsiteX3" fmla="*/ 1873620 w 1873763"/>
              <a:gd name="connsiteY3" fmla="*/ 1676086 h 2142617"/>
              <a:gd name="connsiteX4" fmla="*/ 317384 w 1873763"/>
              <a:gd name="connsiteY4" fmla="*/ 2142617 h 2142617"/>
              <a:gd name="connsiteX5" fmla="*/ 0 w 1873763"/>
              <a:gd name="connsiteY5" fmla="*/ 470064 h 2142617"/>
              <a:gd name="connsiteX0" fmla="*/ 0 w 1873763"/>
              <a:gd name="connsiteY0" fmla="*/ 470064 h 1676086"/>
              <a:gd name="connsiteX1" fmla="*/ 961763 w 1873763"/>
              <a:gd name="connsiteY1" fmla="*/ 0 h 1676086"/>
              <a:gd name="connsiteX2" fmla="*/ 1873763 w 1873763"/>
              <a:gd name="connsiteY2" fmla="*/ 457623 h 1676086"/>
              <a:gd name="connsiteX3" fmla="*/ 1873620 w 1873763"/>
              <a:gd name="connsiteY3" fmla="*/ 1676086 h 1676086"/>
              <a:gd name="connsiteX4" fmla="*/ 6363 w 1873763"/>
              <a:gd name="connsiteY4" fmla="*/ 1669866 h 1676086"/>
              <a:gd name="connsiteX5" fmla="*/ 0 w 1873763"/>
              <a:gd name="connsiteY5" fmla="*/ 470064 h 1676086"/>
              <a:gd name="connsiteX0" fmla="*/ 0 w 1873763"/>
              <a:gd name="connsiteY0" fmla="*/ 470064 h 2134857"/>
              <a:gd name="connsiteX1" fmla="*/ 961763 w 1873763"/>
              <a:gd name="connsiteY1" fmla="*/ 0 h 2134857"/>
              <a:gd name="connsiteX2" fmla="*/ 1873763 w 1873763"/>
              <a:gd name="connsiteY2" fmla="*/ 457623 h 2134857"/>
              <a:gd name="connsiteX3" fmla="*/ 1873620 w 1873763"/>
              <a:gd name="connsiteY3" fmla="*/ 1676086 h 2134857"/>
              <a:gd name="connsiteX4" fmla="*/ 929933 w 1873763"/>
              <a:gd name="connsiteY4" fmla="*/ 2134847 h 2134857"/>
              <a:gd name="connsiteX5" fmla="*/ 6363 w 1873763"/>
              <a:gd name="connsiteY5" fmla="*/ 1669866 h 2134857"/>
              <a:gd name="connsiteX6" fmla="*/ 0 w 1873763"/>
              <a:gd name="connsiteY6" fmla="*/ 470064 h 2134857"/>
              <a:gd name="connsiteX0" fmla="*/ 0 w 1873763"/>
              <a:gd name="connsiteY0" fmla="*/ 470064 h 2167333"/>
              <a:gd name="connsiteX1" fmla="*/ 961763 w 1873763"/>
              <a:gd name="connsiteY1" fmla="*/ 0 h 2167333"/>
              <a:gd name="connsiteX2" fmla="*/ 1873763 w 1873763"/>
              <a:gd name="connsiteY2" fmla="*/ 457623 h 2167333"/>
              <a:gd name="connsiteX3" fmla="*/ 1873620 w 1873763"/>
              <a:gd name="connsiteY3" fmla="*/ 1676086 h 2167333"/>
              <a:gd name="connsiteX4" fmla="*/ 929933 w 1873763"/>
              <a:gd name="connsiteY4" fmla="*/ 2134847 h 2167333"/>
              <a:gd name="connsiteX5" fmla="*/ 6363 w 1873763"/>
              <a:gd name="connsiteY5" fmla="*/ 1669866 h 2167333"/>
              <a:gd name="connsiteX6" fmla="*/ 0 w 1873763"/>
              <a:gd name="connsiteY6" fmla="*/ 470064 h 2167333"/>
              <a:gd name="connsiteX0" fmla="*/ 0 w 1873763"/>
              <a:gd name="connsiteY0" fmla="*/ 470064 h 2139449"/>
              <a:gd name="connsiteX1" fmla="*/ 961763 w 1873763"/>
              <a:gd name="connsiteY1" fmla="*/ 0 h 2139449"/>
              <a:gd name="connsiteX2" fmla="*/ 1873763 w 1873763"/>
              <a:gd name="connsiteY2" fmla="*/ 457623 h 2139449"/>
              <a:gd name="connsiteX3" fmla="*/ 1873620 w 1873763"/>
              <a:gd name="connsiteY3" fmla="*/ 1676086 h 2139449"/>
              <a:gd name="connsiteX4" fmla="*/ 929933 w 1873763"/>
              <a:gd name="connsiteY4" fmla="*/ 2134847 h 2139449"/>
              <a:gd name="connsiteX5" fmla="*/ 6363 w 1873763"/>
              <a:gd name="connsiteY5" fmla="*/ 1669866 h 2139449"/>
              <a:gd name="connsiteX6" fmla="*/ 0 w 1873763"/>
              <a:gd name="connsiteY6" fmla="*/ 470064 h 2139449"/>
              <a:gd name="connsiteX0" fmla="*/ 0 w 1873763"/>
              <a:gd name="connsiteY0" fmla="*/ 470064 h 2135528"/>
              <a:gd name="connsiteX1" fmla="*/ 961763 w 1873763"/>
              <a:gd name="connsiteY1" fmla="*/ 0 h 2135528"/>
              <a:gd name="connsiteX2" fmla="*/ 1873763 w 1873763"/>
              <a:gd name="connsiteY2" fmla="*/ 457623 h 2135528"/>
              <a:gd name="connsiteX3" fmla="*/ 1873620 w 1873763"/>
              <a:gd name="connsiteY3" fmla="*/ 1676086 h 2135528"/>
              <a:gd name="connsiteX4" fmla="*/ 929933 w 1873763"/>
              <a:gd name="connsiteY4" fmla="*/ 2134847 h 2135528"/>
              <a:gd name="connsiteX5" fmla="*/ 6363 w 1873763"/>
              <a:gd name="connsiteY5" fmla="*/ 1669866 h 2135528"/>
              <a:gd name="connsiteX6" fmla="*/ 0 w 1873763"/>
              <a:gd name="connsiteY6" fmla="*/ 470064 h 2135528"/>
              <a:gd name="connsiteX0" fmla="*/ 0 w 1990413"/>
              <a:gd name="connsiteY0" fmla="*/ 470064 h 2135890"/>
              <a:gd name="connsiteX1" fmla="*/ 961763 w 1990413"/>
              <a:gd name="connsiteY1" fmla="*/ 0 h 2135890"/>
              <a:gd name="connsiteX2" fmla="*/ 1873763 w 1990413"/>
              <a:gd name="connsiteY2" fmla="*/ 457623 h 2135890"/>
              <a:gd name="connsiteX3" fmla="*/ 1873620 w 1990413"/>
              <a:gd name="connsiteY3" fmla="*/ 1676086 h 2135890"/>
              <a:gd name="connsiteX4" fmla="*/ 929933 w 1990413"/>
              <a:gd name="connsiteY4" fmla="*/ 2134847 h 2135890"/>
              <a:gd name="connsiteX5" fmla="*/ 6363 w 1990413"/>
              <a:gd name="connsiteY5" fmla="*/ 1669866 h 2135890"/>
              <a:gd name="connsiteX6" fmla="*/ 0 w 1990413"/>
              <a:gd name="connsiteY6" fmla="*/ 470064 h 2135890"/>
              <a:gd name="connsiteX0" fmla="*/ 0 w 1873763"/>
              <a:gd name="connsiteY0" fmla="*/ 470064 h 2135528"/>
              <a:gd name="connsiteX1" fmla="*/ 961763 w 1873763"/>
              <a:gd name="connsiteY1" fmla="*/ 0 h 2135528"/>
              <a:gd name="connsiteX2" fmla="*/ 1873763 w 1873763"/>
              <a:gd name="connsiteY2" fmla="*/ 457623 h 2135528"/>
              <a:gd name="connsiteX3" fmla="*/ 1873620 w 1873763"/>
              <a:gd name="connsiteY3" fmla="*/ 1676086 h 2135528"/>
              <a:gd name="connsiteX4" fmla="*/ 929933 w 1873763"/>
              <a:gd name="connsiteY4" fmla="*/ 2134847 h 2135528"/>
              <a:gd name="connsiteX5" fmla="*/ 6363 w 1873763"/>
              <a:gd name="connsiteY5" fmla="*/ 1669866 h 2135528"/>
              <a:gd name="connsiteX6" fmla="*/ 0 w 1873763"/>
              <a:gd name="connsiteY6" fmla="*/ 470064 h 2135528"/>
              <a:gd name="connsiteX0" fmla="*/ 0 w 1873763"/>
              <a:gd name="connsiteY0" fmla="*/ 470064 h 2134857"/>
              <a:gd name="connsiteX1" fmla="*/ 961763 w 1873763"/>
              <a:gd name="connsiteY1" fmla="*/ 0 h 2134857"/>
              <a:gd name="connsiteX2" fmla="*/ 1873763 w 1873763"/>
              <a:gd name="connsiteY2" fmla="*/ 457623 h 2134857"/>
              <a:gd name="connsiteX3" fmla="*/ 1873620 w 1873763"/>
              <a:gd name="connsiteY3" fmla="*/ 1676086 h 2134857"/>
              <a:gd name="connsiteX4" fmla="*/ 929933 w 1873763"/>
              <a:gd name="connsiteY4" fmla="*/ 2134847 h 2134857"/>
              <a:gd name="connsiteX5" fmla="*/ 6363 w 1873763"/>
              <a:gd name="connsiteY5" fmla="*/ 1669866 h 2134857"/>
              <a:gd name="connsiteX6" fmla="*/ 0 w 1873763"/>
              <a:gd name="connsiteY6" fmla="*/ 470064 h 2134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73763" h="2134857">
                <a:moveTo>
                  <a:pt x="0" y="470064"/>
                </a:moveTo>
                <a:lnTo>
                  <a:pt x="961763" y="0"/>
                </a:lnTo>
                <a:lnTo>
                  <a:pt x="1873763" y="457623"/>
                </a:lnTo>
                <a:cubicBezTo>
                  <a:pt x="1873715" y="863777"/>
                  <a:pt x="1868869" y="1678676"/>
                  <a:pt x="1873620" y="1676086"/>
                </a:cubicBezTo>
                <a:cubicBezTo>
                  <a:pt x="1878371" y="1673496"/>
                  <a:pt x="950064" y="2137436"/>
                  <a:pt x="929933" y="2134847"/>
                </a:cubicBezTo>
                <a:cubicBezTo>
                  <a:pt x="909802" y="2132258"/>
                  <a:pt x="314220" y="1824860"/>
                  <a:pt x="6363" y="1669866"/>
                </a:cubicBezTo>
                <a:lnTo>
                  <a:pt x="0" y="470064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82776E-BCE2-4EBF-BF18-EFF985DB63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1" y="4051736"/>
            <a:ext cx="2570975" cy="252203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en-US" dirty="0"/>
              <a:t>Team Member Name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158A7F1F-31B9-40BF-9B61-E44CA8DF115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3891" y="4357542"/>
            <a:ext cx="2570975" cy="31254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Team member position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13E36FDD-30D9-494F-9E76-E6973DCEF32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9647" y="231580"/>
            <a:ext cx="419813" cy="552823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Freeform 34">
            <a:extLst>
              <a:ext uri="{FF2B5EF4-FFF2-40B4-BE49-F238E27FC236}">
                <a16:creationId xmlns:a16="http://schemas.microsoft.com/office/drawing/2014/main" id="{0CBAC1D4-038D-4EB1-84A4-28A805C39DF3}"/>
              </a:ext>
            </a:extLst>
          </p:cNvPr>
          <p:cNvSpPr/>
          <p:nvPr/>
        </p:nvSpPr>
        <p:spPr>
          <a:xfrm>
            <a:off x="1675733" y="1134529"/>
            <a:ext cx="2205318" cy="2534855"/>
          </a:xfrm>
          <a:custGeom>
            <a:avLst/>
            <a:gdLst>
              <a:gd name="connsiteX0" fmla="*/ 0 w 2008628"/>
              <a:gd name="connsiteY0" fmla="*/ 873753 h 1747506"/>
              <a:gd name="connsiteX1" fmla="*/ 436877 w 2008628"/>
              <a:gd name="connsiteY1" fmla="*/ 0 h 1747506"/>
              <a:gd name="connsiteX2" fmla="*/ 1571752 w 2008628"/>
              <a:gd name="connsiteY2" fmla="*/ 0 h 1747506"/>
              <a:gd name="connsiteX3" fmla="*/ 2008628 w 2008628"/>
              <a:gd name="connsiteY3" fmla="*/ 873753 h 1747506"/>
              <a:gd name="connsiteX4" fmla="*/ 1571752 w 2008628"/>
              <a:gd name="connsiteY4" fmla="*/ 1747506 h 1747506"/>
              <a:gd name="connsiteX5" fmla="*/ 436877 w 2008628"/>
              <a:gd name="connsiteY5" fmla="*/ 1747506 h 1747506"/>
              <a:gd name="connsiteX6" fmla="*/ 0 w 2008628"/>
              <a:gd name="connsiteY6" fmla="*/ 873753 h 1747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08628" h="1747506">
                <a:moveTo>
                  <a:pt x="1004314" y="0"/>
                </a:moveTo>
                <a:lnTo>
                  <a:pt x="2008627" y="380083"/>
                </a:lnTo>
                <a:lnTo>
                  <a:pt x="2008627" y="1367424"/>
                </a:lnTo>
                <a:lnTo>
                  <a:pt x="1004314" y="1747506"/>
                </a:lnTo>
                <a:lnTo>
                  <a:pt x="1" y="1367424"/>
                </a:lnTo>
                <a:lnTo>
                  <a:pt x="1" y="380083"/>
                </a:lnTo>
                <a:lnTo>
                  <a:pt x="1004314" y="0"/>
                </a:lnTo>
                <a:close/>
              </a:path>
            </a:pathLst>
          </a:custGeom>
          <a:noFill/>
          <a:ln w="165100" cap="sq">
            <a:solidFill>
              <a:srgbClr val="F6BABA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spcFirstLastPara="0" vert="horz" wrap="square" lIns="272320" tIns="313010" rIns="272320" bIns="313010" numCol="1" spcCol="1270" anchor="ctr" anchorCtr="0">
            <a:noAutofit/>
          </a:bodyPr>
          <a:lstStyle/>
          <a:p>
            <a:pPr algn="ctr" defTabSz="160024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id-ID" sz="3600"/>
          </a:p>
        </p:txBody>
      </p:sp>
      <p:sp>
        <p:nvSpPr>
          <p:cNvPr id="35" name="Content Placeholder 27">
            <a:extLst>
              <a:ext uri="{FF2B5EF4-FFF2-40B4-BE49-F238E27FC236}">
                <a16:creationId xmlns:a16="http://schemas.microsoft.com/office/drawing/2014/main" id="{60F19ED5-43FF-4718-AD4E-C429461AE6F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3891" y="5382417"/>
            <a:ext cx="2570974" cy="31254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1pPr>
          </a:lstStyle>
          <a:p>
            <a:r>
              <a:rPr lang="en-US" dirty="0"/>
              <a:t>Email</a:t>
            </a:r>
          </a:p>
          <a:p>
            <a:r>
              <a:rPr lang="en-US" dirty="0"/>
              <a:t>Phone number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0B53503-0BCB-4FD1-8D08-4B9481E12062}"/>
              </a:ext>
            </a:extLst>
          </p:cNvPr>
          <p:cNvGrpSpPr/>
          <p:nvPr/>
        </p:nvGrpSpPr>
        <p:grpSpPr>
          <a:xfrm>
            <a:off x="115734" y="4755878"/>
            <a:ext cx="814898" cy="239249"/>
            <a:chOff x="1790700" y="5623267"/>
            <a:chExt cx="1046591" cy="307273"/>
          </a:xfrm>
        </p:grpSpPr>
        <p:sp>
          <p:nvSpPr>
            <p:cNvPr id="37" name="Freeform 346">
              <a:extLst>
                <a:ext uri="{FF2B5EF4-FFF2-40B4-BE49-F238E27FC236}">
                  <a16:creationId xmlns:a16="http://schemas.microsoft.com/office/drawing/2014/main" id="{0E52E462-CD64-43CE-A8A8-096A8D28D8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4793" y="5702764"/>
              <a:ext cx="117721" cy="149113"/>
            </a:xfrm>
            <a:custGeom>
              <a:avLst/>
              <a:gdLst>
                <a:gd name="T0" fmla="*/ 15 w 38"/>
                <a:gd name="T1" fmla="*/ 32 h 48"/>
                <a:gd name="T2" fmla="*/ 8 w 38"/>
                <a:gd name="T3" fmla="*/ 48 h 48"/>
                <a:gd name="T4" fmla="*/ 12 w 38"/>
                <a:gd name="T5" fmla="*/ 23 h 48"/>
                <a:gd name="T6" fmla="*/ 18 w 38"/>
                <a:gd name="T7" fmla="*/ 12 h 48"/>
                <a:gd name="T8" fmla="*/ 20 w 38"/>
                <a:gd name="T9" fmla="*/ 31 h 48"/>
                <a:gd name="T10" fmla="*/ 27 w 38"/>
                <a:gd name="T11" fmla="*/ 9 h 48"/>
                <a:gd name="T12" fmla="*/ 6 w 38"/>
                <a:gd name="T13" fmla="*/ 21 h 48"/>
                <a:gd name="T14" fmla="*/ 7 w 38"/>
                <a:gd name="T15" fmla="*/ 28 h 48"/>
                <a:gd name="T16" fmla="*/ 0 w 38"/>
                <a:gd name="T17" fmla="*/ 18 h 48"/>
                <a:gd name="T18" fmla="*/ 16 w 38"/>
                <a:gd name="T19" fmla="*/ 1 h 48"/>
                <a:gd name="T20" fmla="*/ 36 w 38"/>
                <a:gd name="T21" fmla="*/ 14 h 48"/>
                <a:gd name="T22" fmla="*/ 21 w 38"/>
                <a:gd name="T23" fmla="*/ 35 h 48"/>
                <a:gd name="T24" fmla="*/ 15 w 38"/>
                <a:gd name="T25" fmla="*/ 3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8">
                  <a:moveTo>
                    <a:pt x="15" y="32"/>
                  </a:moveTo>
                  <a:cubicBezTo>
                    <a:pt x="14" y="39"/>
                    <a:pt x="12" y="45"/>
                    <a:pt x="8" y="48"/>
                  </a:cubicBezTo>
                  <a:cubicBezTo>
                    <a:pt x="7" y="38"/>
                    <a:pt x="10" y="31"/>
                    <a:pt x="12" y="23"/>
                  </a:cubicBezTo>
                  <a:cubicBezTo>
                    <a:pt x="9" y="19"/>
                    <a:pt x="12" y="10"/>
                    <a:pt x="18" y="12"/>
                  </a:cubicBezTo>
                  <a:cubicBezTo>
                    <a:pt x="25" y="15"/>
                    <a:pt x="12" y="29"/>
                    <a:pt x="20" y="31"/>
                  </a:cubicBezTo>
                  <a:cubicBezTo>
                    <a:pt x="29" y="32"/>
                    <a:pt x="33" y="15"/>
                    <a:pt x="27" y="9"/>
                  </a:cubicBezTo>
                  <a:cubicBezTo>
                    <a:pt x="19" y="1"/>
                    <a:pt x="4" y="9"/>
                    <a:pt x="6" y="21"/>
                  </a:cubicBezTo>
                  <a:cubicBezTo>
                    <a:pt x="6" y="24"/>
                    <a:pt x="9" y="24"/>
                    <a:pt x="7" y="28"/>
                  </a:cubicBezTo>
                  <a:cubicBezTo>
                    <a:pt x="2" y="27"/>
                    <a:pt x="0" y="23"/>
                    <a:pt x="0" y="18"/>
                  </a:cubicBezTo>
                  <a:cubicBezTo>
                    <a:pt x="0" y="9"/>
                    <a:pt x="8" y="2"/>
                    <a:pt x="16" y="1"/>
                  </a:cubicBezTo>
                  <a:cubicBezTo>
                    <a:pt x="26" y="0"/>
                    <a:pt x="35" y="5"/>
                    <a:pt x="36" y="14"/>
                  </a:cubicBezTo>
                  <a:cubicBezTo>
                    <a:pt x="38" y="25"/>
                    <a:pt x="32" y="36"/>
                    <a:pt x="21" y="35"/>
                  </a:cubicBezTo>
                  <a:cubicBezTo>
                    <a:pt x="19" y="35"/>
                    <a:pt x="17" y="34"/>
                    <a:pt x="15" y="3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id-ID" sz="2400">
                <a:solidFill>
                  <a:srgbClr val="000000"/>
                </a:solidFill>
                <a:latin typeface="Nexa Light" panose="02000000000000000000" pitchFamily="50" charset="0"/>
              </a:endParaRPr>
            </a:p>
          </p:txBody>
        </p:sp>
        <p:sp>
          <p:nvSpPr>
            <p:cNvPr id="38" name="Freeform 370">
              <a:extLst>
                <a:ext uri="{FF2B5EF4-FFF2-40B4-BE49-F238E27FC236}">
                  <a16:creationId xmlns:a16="http://schemas.microsoft.com/office/drawing/2014/main" id="{BC3AF366-010F-48C7-B492-B9482D8EF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4119" y="5711231"/>
              <a:ext cx="73250" cy="130800"/>
            </a:xfrm>
            <a:custGeom>
              <a:avLst/>
              <a:gdLst>
                <a:gd name="T0" fmla="*/ 24 w 24"/>
                <a:gd name="T1" fmla="*/ 7 h 42"/>
                <a:gd name="T2" fmla="*/ 17 w 24"/>
                <a:gd name="T3" fmla="*/ 7 h 42"/>
                <a:gd name="T4" fmla="*/ 15 w 24"/>
                <a:gd name="T5" fmla="*/ 9 h 42"/>
                <a:gd name="T6" fmla="*/ 15 w 24"/>
                <a:gd name="T7" fmla="*/ 14 h 42"/>
                <a:gd name="T8" fmla="*/ 24 w 24"/>
                <a:gd name="T9" fmla="*/ 14 h 42"/>
                <a:gd name="T10" fmla="*/ 24 w 24"/>
                <a:gd name="T11" fmla="*/ 21 h 42"/>
                <a:gd name="T12" fmla="*/ 15 w 24"/>
                <a:gd name="T13" fmla="*/ 21 h 42"/>
                <a:gd name="T14" fmla="*/ 15 w 24"/>
                <a:gd name="T15" fmla="*/ 42 h 42"/>
                <a:gd name="T16" fmla="*/ 8 w 24"/>
                <a:gd name="T17" fmla="*/ 42 h 42"/>
                <a:gd name="T18" fmla="*/ 8 w 24"/>
                <a:gd name="T19" fmla="*/ 21 h 42"/>
                <a:gd name="T20" fmla="*/ 0 w 24"/>
                <a:gd name="T21" fmla="*/ 21 h 42"/>
                <a:gd name="T22" fmla="*/ 0 w 24"/>
                <a:gd name="T23" fmla="*/ 14 h 42"/>
                <a:gd name="T24" fmla="*/ 8 w 24"/>
                <a:gd name="T25" fmla="*/ 14 h 42"/>
                <a:gd name="T26" fmla="*/ 8 w 24"/>
                <a:gd name="T27" fmla="*/ 10 h 42"/>
                <a:gd name="T28" fmla="*/ 17 w 24"/>
                <a:gd name="T29" fmla="*/ 0 h 42"/>
                <a:gd name="T30" fmla="*/ 24 w 24"/>
                <a:gd name="T31" fmla="*/ 0 h 42"/>
                <a:gd name="T32" fmla="*/ 24 w 24"/>
                <a:gd name="T33" fmla="*/ 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42">
                  <a:moveTo>
                    <a:pt x="24" y="7"/>
                  </a:moveTo>
                  <a:cubicBezTo>
                    <a:pt x="17" y="7"/>
                    <a:pt x="17" y="7"/>
                    <a:pt x="17" y="7"/>
                  </a:cubicBezTo>
                  <a:cubicBezTo>
                    <a:pt x="16" y="7"/>
                    <a:pt x="15" y="8"/>
                    <a:pt x="15" y="9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4"/>
                    <a:pt x="12" y="0"/>
                    <a:pt x="17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4" y="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id-ID" sz="2400">
                <a:solidFill>
                  <a:srgbClr val="000000"/>
                </a:solidFill>
                <a:latin typeface="Nexa Light" panose="02000000000000000000" pitchFamily="50" charset="0"/>
              </a:endParaRPr>
            </a:p>
          </p:txBody>
        </p:sp>
        <p:sp>
          <p:nvSpPr>
            <p:cNvPr id="39" name="Freeform 380">
              <a:extLst>
                <a:ext uri="{FF2B5EF4-FFF2-40B4-BE49-F238E27FC236}">
                  <a16:creationId xmlns:a16="http://schemas.microsoft.com/office/drawing/2014/main" id="{A3F6E302-1CF3-42AD-A4A7-D46701C28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8281" y="5718297"/>
              <a:ext cx="132110" cy="107256"/>
            </a:xfrm>
            <a:custGeom>
              <a:avLst/>
              <a:gdLst>
                <a:gd name="T0" fmla="*/ 43 w 43"/>
                <a:gd name="T1" fmla="*/ 4 h 35"/>
                <a:gd name="T2" fmla="*/ 38 w 43"/>
                <a:gd name="T3" fmla="*/ 6 h 35"/>
                <a:gd name="T4" fmla="*/ 42 w 43"/>
                <a:gd name="T5" fmla="*/ 1 h 35"/>
                <a:gd name="T6" fmla="*/ 36 w 43"/>
                <a:gd name="T7" fmla="*/ 3 h 35"/>
                <a:gd name="T8" fmla="*/ 30 w 43"/>
                <a:gd name="T9" fmla="*/ 0 h 35"/>
                <a:gd name="T10" fmla="*/ 21 w 43"/>
                <a:gd name="T11" fmla="*/ 9 h 35"/>
                <a:gd name="T12" fmla="*/ 21 w 43"/>
                <a:gd name="T13" fmla="*/ 11 h 35"/>
                <a:gd name="T14" fmla="*/ 3 w 43"/>
                <a:gd name="T15" fmla="*/ 2 h 35"/>
                <a:gd name="T16" fmla="*/ 2 w 43"/>
                <a:gd name="T17" fmla="*/ 6 h 35"/>
                <a:gd name="T18" fmla="*/ 6 w 43"/>
                <a:gd name="T19" fmla="*/ 14 h 35"/>
                <a:gd name="T20" fmla="*/ 2 w 43"/>
                <a:gd name="T21" fmla="*/ 13 h 35"/>
                <a:gd name="T22" fmla="*/ 2 w 43"/>
                <a:gd name="T23" fmla="*/ 13 h 35"/>
                <a:gd name="T24" fmla="*/ 9 w 43"/>
                <a:gd name="T25" fmla="*/ 21 h 35"/>
                <a:gd name="T26" fmla="*/ 6 w 43"/>
                <a:gd name="T27" fmla="*/ 22 h 35"/>
                <a:gd name="T28" fmla="*/ 5 w 43"/>
                <a:gd name="T29" fmla="*/ 22 h 35"/>
                <a:gd name="T30" fmla="*/ 13 w 43"/>
                <a:gd name="T31" fmla="*/ 28 h 35"/>
                <a:gd name="T32" fmla="*/ 2 w 43"/>
                <a:gd name="T33" fmla="*/ 31 h 35"/>
                <a:gd name="T34" fmla="*/ 0 w 43"/>
                <a:gd name="T35" fmla="*/ 31 h 35"/>
                <a:gd name="T36" fmla="*/ 13 w 43"/>
                <a:gd name="T37" fmla="*/ 35 h 35"/>
                <a:gd name="T38" fmla="*/ 39 w 43"/>
                <a:gd name="T39" fmla="*/ 10 h 35"/>
                <a:gd name="T40" fmla="*/ 39 w 43"/>
                <a:gd name="T41" fmla="*/ 9 h 35"/>
                <a:gd name="T42" fmla="*/ 43 w 43"/>
                <a:gd name="T43" fmla="*/ 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35">
                  <a:moveTo>
                    <a:pt x="43" y="4"/>
                  </a:moveTo>
                  <a:cubicBezTo>
                    <a:pt x="41" y="5"/>
                    <a:pt x="40" y="6"/>
                    <a:pt x="38" y="6"/>
                  </a:cubicBezTo>
                  <a:cubicBezTo>
                    <a:pt x="40" y="5"/>
                    <a:pt x="41" y="3"/>
                    <a:pt x="42" y="1"/>
                  </a:cubicBezTo>
                  <a:cubicBezTo>
                    <a:pt x="40" y="2"/>
                    <a:pt x="38" y="3"/>
                    <a:pt x="36" y="3"/>
                  </a:cubicBezTo>
                  <a:cubicBezTo>
                    <a:pt x="35" y="1"/>
                    <a:pt x="32" y="0"/>
                    <a:pt x="30" y="0"/>
                  </a:cubicBezTo>
                  <a:cubicBezTo>
                    <a:pt x="25" y="0"/>
                    <a:pt x="21" y="4"/>
                    <a:pt x="21" y="9"/>
                  </a:cubicBezTo>
                  <a:cubicBezTo>
                    <a:pt x="21" y="10"/>
                    <a:pt x="21" y="10"/>
                    <a:pt x="21" y="11"/>
                  </a:cubicBezTo>
                  <a:cubicBezTo>
                    <a:pt x="14" y="11"/>
                    <a:pt x="7" y="7"/>
                    <a:pt x="3" y="2"/>
                  </a:cubicBezTo>
                  <a:cubicBezTo>
                    <a:pt x="2" y="3"/>
                    <a:pt x="2" y="5"/>
                    <a:pt x="2" y="6"/>
                  </a:cubicBezTo>
                  <a:cubicBezTo>
                    <a:pt x="2" y="9"/>
                    <a:pt x="3" y="12"/>
                    <a:pt x="6" y="14"/>
                  </a:cubicBezTo>
                  <a:cubicBezTo>
                    <a:pt x="4" y="14"/>
                    <a:pt x="3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7"/>
                    <a:pt x="5" y="21"/>
                    <a:pt x="9" y="21"/>
                  </a:cubicBezTo>
                  <a:cubicBezTo>
                    <a:pt x="8" y="22"/>
                    <a:pt x="7" y="22"/>
                    <a:pt x="6" y="22"/>
                  </a:cubicBezTo>
                  <a:cubicBezTo>
                    <a:pt x="6" y="22"/>
                    <a:pt x="5" y="22"/>
                    <a:pt x="5" y="22"/>
                  </a:cubicBezTo>
                  <a:cubicBezTo>
                    <a:pt x="6" y="25"/>
                    <a:pt x="9" y="28"/>
                    <a:pt x="13" y="28"/>
                  </a:cubicBezTo>
                  <a:cubicBezTo>
                    <a:pt x="10" y="30"/>
                    <a:pt x="6" y="31"/>
                    <a:pt x="2" y="31"/>
                  </a:cubicBezTo>
                  <a:cubicBezTo>
                    <a:pt x="1" y="31"/>
                    <a:pt x="1" y="31"/>
                    <a:pt x="0" y="31"/>
                  </a:cubicBezTo>
                  <a:cubicBezTo>
                    <a:pt x="4" y="34"/>
                    <a:pt x="8" y="35"/>
                    <a:pt x="13" y="35"/>
                  </a:cubicBezTo>
                  <a:cubicBezTo>
                    <a:pt x="30" y="35"/>
                    <a:pt x="39" y="22"/>
                    <a:pt x="39" y="10"/>
                  </a:cubicBezTo>
                  <a:cubicBezTo>
                    <a:pt x="39" y="10"/>
                    <a:pt x="39" y="9"/>
                    <a:pt x="39" y="9"/>
                  </a:cubicBezTo>
                  <a:cubicBezTo>
                    <a:pt x="40" y="8"/>
                    <a:pt x="42" y="6"/>
                    <a:pt x="43" y="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id-ID" sz="2400">
                <a:solidFill>
                  <a:srgbClr val="000000"/>
                </a:solidFill>
                <a:latin typeface="Nexa Light" panose="02000000000000000000" pitchFamily="50" charset="0"/>
              </a:endParaRPr>
            </a:p>
          </p:txBody>
        </p:sp>
        <p:sp>
          <p:nvSpPr>
            <p:cNvPr id="40" name="AutoShape 3">
              <a:extLst>
                <a:ext uri="{FF2B5EF4-FFF2-40B4-BE49-F238E27FC236}">
                  <a16:creationId xmlns:a16="http://schemas.microsoft.com/office/drawing/2014/main" id="{248B0464-D72A-44A4-8E09-2143E1DBBA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0700" y="5623267"/>
              <a:ext cx="307273" cy="307273"/>
            </a:xfrm>
            <a:custGeom>
              <a:avLst/>
              <a:gdLst/>
              <a:ahLst/>
              <a:cxnLst/>
              <a:rect l="0" t="0" r="r" b="b"/>
              <a:pathLst>
                <a:path w="20465" h="20465">
                  <a:moveTo>
                    <a:pt x="18764" y="6107"/>
                  </a:moveTo>
                  <a:cubicBezTo>
                    <a:pt x="21033" y="8376"/>
                    <a:pt x="21033" y="12090"/>
                    <a:pt x="18764" y="14359"/>
                  </a:cubicBezTo>
                  <a:lnTo>
                    <a:pt x="14359" y="18764"/>
                  </a:lnTo>
                  <a:cubicBezTo>
                    <a:pt x="12090" y="21033"/>
                    <a:pt x="8376" y="21033"/>
                    <a:pt x="6107" y="18764"/>
                  </a:cubicBezTo>
                  <a:lnTo>
                    <a:pt x="1702" y="14359"/>
                  </a:lnTo>
                  <a:cubicBezTo>
                    <a:pt x="-567" y="12090"/>
                    <a:pt x="-567" y="8376"/>
                    <a:pt x="1702" y="6107"/>
                  </a:cubicBezTo>
                  <a:lnTo>
                    <a:pt x="6107" y="1702"/>
                  </a:lnTo>
                  <a:cubicBezTo>
                    <a:pt x="8376" y="-567"/>
                    <a:pt x="12090" y="-567"/>
                    <a:pt x="14359" y="1702"/>
                  </a:cubicBezTo>
                  <a:lnTo>
                    <a:pt x="18764" y="6107"/>
                  </a:lnTo>
                  <a:close/>
                  <a:moveTo>
                    <a:pt x="18764" y="6107"/>
                  </a:moveTo>
                </a:path>
              </a:pathLst>
            </a:custGeom>
            <a:noFill/>
            <a:ln w="635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</a:ln>
          </p:spPr>
          <p:txBody>
            <a:bodyPr lIns="0" tIns="0" rIns="0" bIns="0"/>
            <a:lstStyle/>
            <a:p>
              <a:endParaRPr lang="en-US" dirty="0">
                <a:latin typeface="Nexa Light" panose="02000000000000000000" pitchFamily="50" charset="0"/>
              </a:endParaRPr>
            </a:p>
          </p:txBody>
        </p:sp>
        <p:sp>
          <p:nvSpPr>
            <p:cNvPr id="41" name="AutoShape 3">
              <a:extLst>
                <a:ext uri="{FF2B5EF4-FFF2-40B4-BE49-F238E27FC236}">
                  <a16:creationId xmlns:a16="http://schemas.microsoft.com/office/drawing/2014/main" id="{D79FBBBE-C6C5-4827-9A6B-83A22E513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7688" y="5623267"/>
              <a:ext cx="307273" cy="307273"/>
            </a:xfrm>
            <a:custGeom>
              <a:avLst/>
              <a:gdLst/>
              <a:ahLst/>
              <a:cxnLst/>
              <a:rect l="0" t="0" r="r" b="b"/>
              <a:pathLst>
                <a:path w="20465" h="20465">
                  <a:moveTo>
                    <a:pt x="18764" y="6107"/>
                  </a:moveTo>
                  <a:cubicBezTo>
                    <a:pt x="21033" y="8376"/>
                    <a:pt x="21033" y="12090"/>
                    <a:pt x="18764" y="14359"/>
                  </a:cubicBezTo>
                  <a:lnTo>
                    <a:pt x="14359" y="18764"/>
                  </a:lnTo>
                  <a:cubicBezTo>
                    <a:pt x="12090" y="21033"/>
                    <a:pt x="8376" y="21033"/>
                    <a:pt x="6107" y="18764"/>
                  </a:cubicBezTo>
                  <a:lnTo>
                    <a:pt x="1702" y="14359"/>
                  </a:lnTo>
                  <a:cubicBezTo>
                    <a:pt x="-567" y="12090"/>
                    <a:pt x="-567" y="8376"/>
                    <a:pt x="1702" y="6107"/>
                  </a:cubicBezTo>
                  <a:lnTo>
                    <a:pt x="6107" y="1702"/>
                  </a:lnTo>
                  <a:cubicBezTo>
                    <a:pt x="8376" y="-567"/>
                    <a:pt x="12090" y="-567"/>
                    <a:pt x="14359" y="1702"/>
                  </a:cubicBezTo>
                  <a:lnTo>
                    <a:pt x="18764" y="6107"/>
                  </a:lnTo>
                  <a:close/>
                  <a:moveTo>
                    <a:pt x="18764" y="6107"/>
                  </a:moveTo>
                </a:path>
              </a:pathLst>
            </a:custGeom>
            <a:noFill/>
            <a:ln w="635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</a:ln>
          </p:spPr>
          <p:txBody>
            <a:bodyPr lIns="0" tIns="0" rIns="0" bIns="0"/>
            <a:lstStyle/>
            <a:p>
              <a:endParaRPr lang="en-US" dirty="0">
                <a:latin typeface="Nexa Light" panose="02000000000000000000" pitchFamily="50" charset="0"/>
              </a:endParaRPr>
            </a:p>
          </p:txBody>
        </p:sp>
        <p:sp>
          <p:nvSpPr>
            <p:cNvPr id="42" name="AutoShape 3">
              <a:extLst>
                <a:ext uri="{FF2B5EF4-FFF2-40B4-BE49-F238E27FC236}">
                  <a16:creationId xmlns:a16="http://schemas.microsoft.com/office/drawing/2014/main" id="{02281D2F-12D6-4A9E-98BD-EA874F420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0018" y="5623267"/>
              <a:ext cx="307273" cy="307273"/>
            </a:xfrm>
            <a:custGeom>
              <a:avLst/>
              <a:gdLst/>
              <a:ahLst/>
              <a:cxnLst/>
              <a:rect l="0" t="0" r="r" b="b"/>
              <a:pathLst>
                <a:path w="20465" h="20465">
                  <a:moveTo>
                    <a:pt x="18764" y="6107"/>
                  </a:moveTo>
                  <a:cubicBezTo>
                    <a:pt x="21033" y="8376"/>
                    <a:pt x="21033" y="12090"/>
                    <a:pt x="18764" y="14359"/>
                  </a:cubicBezTo>
                  <a:lnTo>
                    <a:pt x="14359" y="18764"/>
                  </a:lnTo>
                  <a:cubicBezTo>
                    <a:pt x="12090" y="21033"/>
                    <a:pt x="8376" y="21033"/>
                    <a:pt x="6107" y="18764"/>
                  </a:cubicBezTo>
                  <a:lnTo>
                    <a:pt x="1702" y="14359"/>
                  </a:lnTo>
                  <a:cubicBezTo>
                    <a:pt x="-567" y="12090"/>
                    <a:pt x="-567" y="8376"/>
                    <a:pt x="1702" y="6107"/>
                  </a:cubicBezTo>
                  <a:lnTo>
                    <a:pt x="6107" y="1702"/>
                  </a:lnTo>
                  <a:cubicBezTo>
                    <a:pt x="8376" y="-567"/>
                    <a:pt x="12090" y="-567"/>
                    <a:pt x="14359" y="1702"/>
                  </a:cubicBezTo>
                  <a:lnTo>
                    <a:pt x="18764" y="6107"/>
                  </a:lnTo>
                  <a:close/>
                  <a:moveTo>
                    <a:pt x="18764" y="6107"/>
                  </a:moveTo>
                </a:path>
              </a:pathLst>
            </a:custGeom>
            <a:noFill/>
            <a:ln w="635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</a:ln>
          </p:spPr>
          <p:txBody>
            <a:bodyPr lIns="0" tIns="0" rIns="0" bIns="0"/>
            <a:lstStyle/>
            <a:p>
              <a:endParaRPr lang="en-US" dirty="0">
                <a:latin typeface="Nexa Light" panose="02000000000000000000" pitchFamily="50" charset="0"/>
              </a:endParaRPr>
            </a:p>
          </p:txBody>
        </p:sp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DCDBB1D9-35E5-4DF8-AAC5-F6A3AD96AA9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 b="-11530"/>
          <a:stretch/>
        </p:blipFill>
        <p:spPr>
          <a:xfrm>
            <a:off x="-11151" y="6094776"/>
            <a:ext cx="4567241" cy="87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2352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890ED3D3-CD70-4B7D-8328-B552640B064D}"/>
              </a:ext>
            </a:extLst>
          </p:cNvPr>
          <p:cNvSpPr/>
          <p:nvPr/>
        </p:nvSpPr>
        <p:spPr>
          <a:xfrm>
            <a:off x="0" y="6122020"/>
            <a:ext cx="12192000" cy="752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1CD35C-CA22-4140-84A9-0F27D39F7D0D}"/>
              </a:ext>
            </a:extLst>
          </p:cNvPr>
          <p:cNvSpPr/>
          <p:nvPr/>
        </p:nvSpPr>
        <p:spPr>
          <a:xfrm>
            <a:off x="-1" y="0"/>
            <a:ext cx="2787805" cy="688345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DCDBB1D9-35E5-4DF8-AAC5-F6A3AD96AA9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 b="-11530"/>
          <a:stretch/>
        </p:blipFill>
        <p:spPr>
          <a:xfrm>
            <a:off x="-11151" y="6094776"/>
            <a:ext cx="4567241" cy="87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0063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pla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F66D0B-423C-4F60-8A41-38AB77CCF537}"/>
              </a:ext>
            </a:extLst>
          </p:cNvPr>
          <p:cNvSpPr/>
          <p:nvPr/>
        </p:nvSpPr>
        <p:spPr>
          <a:xfrm>
            <a:off x="-1" y="2171239"/>
            <a:ext cx="6889711" cy="2515521"/>
          </a:xfrm>
          <a:prstGeom prst="rect">
            <a:avLst/>
          </a:prstGeom>
          <a:solidFill>
            <a:schemeClr val="bg1">
              <a:lumMod val="95000"/>
              <a:alpha val="2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801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C62E4-0AFF-4351-939C-57BFEA05B8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A43813B-3A95-4FEF-B670-00EE21492575}"/>
              </a:ext>
            </a:extLst>
          </p:cNvPr>
          <p:cNvCxnSpPr/>
          <p:nvPr/>
        </p:nvCxnSpPr>
        <p:spPr>
          <a:xfrm>
            <a:off x="6889721" y="1506807"/>
            <a:ext cx="0" cy="384438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A77C1E2-8B51-4DED-BC74-336CD7520BC3}"/>
              </a:ext>
            </a:extLst>
          </p:cNvPr>
          <p:cNvCxnSpPr/>
          <p:nvPr/>
        </p:nvCxnSpPr>
        <p:spPr>
          <a:xfrm>
            <a:off x="6889721" y="1506807"/>
            <a:ext cx="0" cy="384438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C084B5-B454-4511-8A2B-23E51A8AD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356328EE-6689-40C6-AF1C-13F14F840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4101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BCB2B0-E61E-4D8D-81EF-AA2122417D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6A3ED02C-E58C-4037-BAAA-09330B744D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545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hree Conte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137E3-3D99-41B2-95D7-30814A2169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768E81-5D27-4AC4-9547-762879BE03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9850" y="3428999"/>
            <a:ext cx="3164099" cy="272734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A5F4FD7A-EA9F-4552-B3F6-30AC397A71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821E9E9-FC1A-4B4C-B58D-8D6B71B99AE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13950" y="3428999"/>
            <a:ext cx="3164099" cy="272734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2E066841-377F-4E7E-9967-311FF4F3122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404261" y="3428999"/>
            <a:ext cx="3164099" cy="272734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18">
            <a:extLst>
              <a:ext uri="{FF2B5EF4-FFF2-40B4-BE49-F238E27FC236}">
                <a16:creationId xmlns:a16="http://schemas.microsoft.com/office/drawing/2014/main" id="{6E6B21D5-6327-42AE-B779-8BFB48752B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640" y="2794452"/>
            <a:ext cx="3164099" cy="452856"/>
          </a:xfrm>
        </p:spPr>
        <p:txBody>
          <a:bodyPr>
            <a:normAutofit/>
          </a:bodyPr>
          <a:lstStyle>
            <a:lvl1pPr marL="0" indent="0">
              <a:buNone/>
              <a:defRPr lang="en-US" sz="1400" kern="1200" dirty="0" smtClean="0">
                <a:solidFill>
                  <a:srgbClr val="D82435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134A70D3-B164-4624-9FDB-771BE13F64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13950" y="2794452"/>
            <a:ext cx="3164099" cy="452856"/>
          </a:xfrm>
        </p:spPr>
        <p:txBody>
          <a:bodyPr>
            <a:normAutofit/>
          </a:bodyPr>
          <a:lstStyle>
            <a:lvl1pPr marL="0" indent="0">
              <a:buNone/>
              <a:defRPr lang="en-US" sz="1400" kern="1200" dirty="0" smtClean="0">
                <a:solidFill>
                  <a:srgbClr val="D82435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2268C08B-A65C-43CD-8860-8E985542F6D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99251" y="2794452"/>
            <a:ext cx="3164099" cy="452856"/>
          </a:xfrm>
        </p:spPr>
        <p:txBody>
          <a:bodyPr>
            <a:normAutofit/>
          </a:bodyPr>
          <a:lstStyle>
            <a:lvl1pPr marL="0" indent="0">
              <a:buNone/>
              <a:defRPr lang="en-US" sz="1400" kern="1200" dirty="0" smtClean="0">
                <a:solidFill>
                  <a:srgbClr val="D82435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2035AEC4-1A15-4447-8ED0-8393792BD1C3}"/>
              </a:ext>
            </a:extLst>
          </p:cNvPr>
          <p:cNvGrpSpPr/>
          <p:nvPr/>
        </p:nvGrpSpPr>
        <p:grpSpPr>
          <a:xfrm>
            <a:off x="1780197" y="1584200"/>
            <a:ext cx="850984" cy="862669"/>
            <a:chOff x="16150298" y="1825625"/>
            <a:chExt cx="1373702" cy="1392564"/>
          </a:xfrm>
        </p:grpSpPr>
        <p:sp>
          <p:nvSpPr>
            <p:cNvPr id="42" name="Rounded Rectangle 53">
              <a:extLst>
                <a:ext uri="{FF2B5EF4-FFF2-40B4-BE49-F238E27FC236}">
                  <a16:creationId xmlns:a16="http://schemas.microsoft.com/office/drawing/2014/main" id="{07322244-8CEE-4B1E-8F9C-7A5A7A114700}"/>
                </a:ext>
              </a:extLst>
            </p:cNvPr>
            <p:cNvSpPr/>
            <p:nvPr/>
          </p:nvSpPr>
          <p:spPr>
            <a:xfrm rot="2700000">
              <a:off x="16346364" y="2040553"/>
              <a:ext cx="1177636" cy="1177636"/>
            </a:xfrm>
            <a:prstGeom prst="roundRect">
              <a:avLst>
                <a:gd name="adj" fmla="val 9804"/>
              </a:avLst>
            </a:prstGeom>
            <a:gradFill>
              <a:gsLst>
                <a:gs pos="25000">
                  <a:srgbClr val="D82435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 dirty="0"/>
            </a:p>
          </p:txBody>
        </p:sp>
        <p:sp>
          <p:nvSpPr>
            <p:cNvPr id="43" name="Freeform 54">
              <a:extLst>
                <a:ext uri="{FF2B5EF4-FFF2-40B4-BE49-F238E27FC236}">
                  <a16:creationId xmlns:a16="http://schemas.microsoft.com/office/drawing/2014/main" id="{30E9EBE1-DB77-43D5-971D-492D576FAAED}"/>
                </a:ext>
              </a:extLst>
            </p:cNvPr>
            <p:cNvSpPr/>
            <p:nvPr/>
          </p:nvSpPr>
          <p:spPr>
            <a:xfrm>
              <a:off x="16150298" y="1825625"/>
              <a:ext cx="1263455" cy="1154994"/>
            </a:xfrm>
            <a:custGeom>
              <a:avLst/>
              <a:gdLst>
                <a:gd name="connsiteX0" fmla="*/ 784891 w 1263455"/>
                <a:gd name="connsiteY0" fmla="*/ 0 h 1154994"/>
                <a:gd name="connsiteX1" fmla="*/ 866530 w 1263455"/>
                <a:gd name="connsiteY1" fmla="*/ 33816 h 1154994"/>
                <a:gd name="connsiteX2" fmla="*/ 1263455 w 1263455"/>
                <a:gd name="connsiteY2" fmla="*/ 430740 h 1154994"/>
                <a:gd name="connsiteX3" fmla="*/ 1255671 w 1263455"/>
                <a:gd name="connsiteY3" fmla="*/ 458346 h 1154994"/>
                <a:gd name="connsiteX4" fmla="*/ 430298 w 1263455"/>
                <a:gd name="connsiteY4" fmla="*/ 1139960 h 1154994"/>
                <a:gd name="connsiteX5" fmla="*/ 322280 w 1263455"/>
                <a:gd name="connsiteY5" fmla="*/ 1154994 h 1154994"/>
                <a:gd name="connsiteX6" fmla="*/ 33816 w 1263455"/>
                <a:gd name="connsiteY6" fmla="*/ 866530 h 1154994"/>
                <a:gd name="connsiteX7" fmla="*/ 33816 w 1263455"/>
                <a:gd name="connsiteY7" fmla="*/ 703252 h 1154994"/>
                <a:gd name="connsiteX8" fmla="*/ 703252 w 1263455"/>
                <a:gd name="connsiteY8" fmla="*/ 33816 h 1154994"/>
                <a:gd name="connsiteX9" fmla="*/ 784891 w 1263455"/>
                <a:gd name="connsiteY9" fmla="*/ 0 h 115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3455" h="1154994">
                  <a:moveTo>
                    <a:pt x="784891" y="0"/>
                  </a:moveTo>
                  <a:cubicBezTo>
                    <a:pt x="814439" y="0"/>
                    <a:pt x="843986" y="11272"/>
                    <a:pt x="866530" y="33816"/>
                  </a:cubicBezTo>
                  <a:lnTo>
                    <a:pt x="1263455" y="430740"/>
                  </a:lnTo>
                  <a:lnTo>
                    <a:pt x="1255671" y="458346"/>
                  </a:lnTo>
                  <a:cubicBezTo>
                    <a:pt x="1138321" y="802435"/>
                    <a:pt x="822483" y="1066770"/>
                    <a:pt x="430298" y="1139960"/>
                  </a:cubicBezTo>
                  <a:lnTo>
                    <a:pt x="322280" y="1154994"/>
                  </a:lnTo>
                  <a:lnTo>
                    <a:pt x="33816" y="866530"/>
                  </a:lnTo>
                  <a:cubicBezTo>
                    <a:pt x="-11272" y="821442"/>
                    <a:pt x="-11272" y="748340"/>
                    <a:pt x="33816" y="703252"/>
                  </a:cubicBezTo>
                  <a:lnTo>
                    <a:pt x="703252" y="33816"/>
                  </a:lnTo>
                  <a:cubicBezTo>
                    <a:pt x="725796" y="11272"/>
                    <a:pt x="755344" y="0"/>
                    <a:pt x="784891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689FB85F-C684-4729-A907-23159F823A9D}"/>
              </a:ext>
            </a:extLst>
          </p:cNvPr>
          <p:cNvGrpSpPr/>
          <p:nvPr/>
        </p:nvGrpSpPr>
        <p:grpSpPr>
          <a:xfrm>
            <a:off x="5667658" y="1584200"/>
            <a:ext cx="850984" cy="862669"/>
            <a:chOff x="16150298" y="1825625"/>
            <a:chExt cx="1373702" cy="1392564"/>
          </a:xfrm>
        </p:grpSpPr>
        <p:sp>
          <p:nvSpPr>
            <p:cNvPr id="58" name="Rounded Rectangle 53">
              <a:extLst>
                <a:ext uri="{FF2B5EF4-FFF2-40B4-BE49-F238E27FC236}">
                  <a16:creationId xmlns:a16="http://schemas.microsoft.com/office/drawing/2014/main" id="{52CBBC70-01D5-4336-B6CE-A90CEFF47CA7}"/>
                </a:ext>
              </a:extLst>
            </p:cNvPr>
            <p:cNvSpPr/>
            <p:nvPr/>
          </p:nvSpPr>
          <p:spPr>
            <a:xfrm rot="2700000">
              <a:off x="16346364" y="2040553"/>
              <a:ext cx="1177636" cy="1177636"/>
            </a:xfrm>
            <a:prstGeom prst="roundRect">
              <a:avLst>
                <a:gd name="adj" fmla="val 9804"/>
              </a:avLst>
            </a:prstGeom>
            <a:gradFill>
              <a:gsLst>
                <a:gs pos="25000">
                  <a:srgbClr val="D82435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 dirty="0"/>
            </a:p>
          </p:txBody>
        </p:sp>
        <p:sp>
          <p:nvSpPr>
            <p:cNvPr id="59" name="Freeform 54">
              <a:extLst>
                <a:ext uri="{FF2B5EF4-FFF2-40B4-BE49-F238E27FC236}">
                  <a16:creationId xmlns:a16="http://schemas.microsoft.com/office/drawing/2014/main" id="{E26FD267-1B36-4901-B67C-976BDF3C638E}"/>
                </a:ext>
              </a:extLst>
            </p:cNvPr>
            <p:cNvSpPr/>
            <p:nvPr/>
          </p:nvSpPr>
          <p:spPr>
            <a:xfrm>
              <a:off x="16150298" y="1825625"/>
              <a:ext cx="1263455" cy="1154994"/>
            </a:xfrm>
            <a:custGeom>
              <a:avLst/>
              <a:gdLst>
                <a:gd name="connsiteX0" fmla="*/ 784891 w 1263455"/>
                <a:gd name="connsiteY0" fmla="*/ 0 h 1154994"/>
                <a:gd name="connsiteX1" fmla="*/ 866530 w 1263455"/>
                <a:gd name="connsiteY1" fmla="*/ 33816 h 1154994"/>
                <a:gd name="connsiteX2" fmla="*/ 1263455 w 1263455"/>
                <a:gd name="connsiteY2" fmla="*/ 430740 h 1154994"/>
                <a:gd name="connsiteX3" fmla="*/ 1255671 w 1263455"/>
                <a:gd name="connsiteY3" fmla="*/ 458346 h 1154994"/>
                <a:gd name="connsiteX4" fmla="*/ 430298 w 1263455"/>
                <a:gd name="connsiteY4" fmla="*/ 1139960 h 1154994"/>
                <a:gd name="connsiteX5" fmla="*/ 322280 w 1263455"/>
                <a:gd name="connsiteY5" fmla="*/ 1154994 h 1154994"/>
                <a:gd name="connsiteX6" fmla="*/ 33816 w 1263455"/>
                <a:gd name="connsiteY6" fmla="*/ 866530 h 1154994"/>
                <a:gd name="connsiteX7" fmla="*/ 33816 w 1263455"/>
                <a:gd name="connsiteY7" fmla="*/ 703252 h 1154994"/>
                <a:gd name="connsiteX8" fmla="*/ 703252 w 1263455"/>
                <a:gd name="connsiteY8" fmla="*/ 33816 h 1154994"/>
                <a:gd name="connsiteX9" fmla="*/ 784891 w 1263455"/>
                <a:gd name="connsiteY9" fmla="*/ 0 h 115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3455" h="1154994">
                  <a:moveTo>
                    <a:pt x="784891" y="0"/>
                  </a:moveTo>
                  <a:cubicBezTo>
                    <a:pt x="814439" y="0"/>
                    <a:pt x="843986" y="11272"/>
                    <a:pt x="866530" y="33816"/>
                  </a:cubicBezTo>
                  <a:lnTo>
                    <a:pt x="1263455" y="430740"/>
                  </a:lnTo>
                  <a:lnTo>
                    <a:pt x="1255671" y="458346"/>
                  </a:lnTo>
                  <a:cubicBezTo>
                    <a:pt x="1138321" y="802435"/>
                    <a:pt x="822483" y="1066770"/>
                    <a:pt x="430298" y="1139960"/>
                  </a:cubicBezTo>
                  <a:lnTo>
                    <a:pt x="322280" y="1154994"/>
                  </a:lnTo>
                  <a:lnTo>
                    <a:pt x="33816" y="866530"/>
                  </a:lnTo>
                  <a:cubicBezTo>
                    <a:pt x="-11272" y="821442"/>
                    <a:pt x="-11272" y="748340"/>
                    <a:pt x="33816" y="703252"/>
                  </a:cubicBezTo>
                  <a:lnTo>
                    <a:pt x="703252" y="33816"/>
                  </a:lnTo>
                  <a:cubicBezTo>
                    <a:pt x="725796" y="11272"/>
                    <a:pt x="755344" y="0"/>
                    <a:pt x="784891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04429F9-D8DD-444C-87C1-251D3813E062}"/>
              </a:ext>
            </a:extLst>
          </p:cNvPr>
          <p:cNvGrpSpPr/>
          <p:nvPr/>
        </p:nvGrpSpPr>
        <p:grpSpPr>
          <a:xfrm>
            <a:off x="9399519" y="1584200"/>
            <a:ext cx="850984" cy="862669"/>
            <a:chOff x="16150298" y="1825625"/>
            <a:chExt cx="1373702" cy="1392564"/>
          </a:xfrm>
        </p:grpSpPr>
        <p:sp>
          <p:nvSpPr>
            <p:cNvPr id="63" name="Rounded Rectangle 53">
              <a:extLst>
                <a:ext uri="{FF2B5EF4-FFF2-40B4-BE49-F238E27FC236}">
                  <a16:creationId xmlns:a16="http://schemas.microsoft.com/office/drawing/2014/main" id="{D7C8FA2F-44BF-465A-BEEA-1953428AF209}"/>
                </a:ext>
              </a:extLst>
            </p:cNvPr>
            <p:cNvSpPr/>
            <p:nvPr/>
          </p:nvSpPr>
          <p:spPr>
            <a:xfrm rot="2700000">
              <a:off x="16346364" y="2040553"/>
              <a:ext cx="1177636" cy="1177636"/>
            </a:xfrm>
            <a:prstGeom prst="roundRect">
              <a:avLst>
                <a:gd name="adj" fmla="val 9804"/>
              </a:avLst>
            </a:prstGeom>
            <a:gradFill>
              <a:gsLst>
                <a:gs pos="25000">
                  <a:srgbClr val="D82435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 dirty="0"/>
            </a:p>
          </p:txBody>
        </p:sp>
        <p:sp>
          <p:nvSpPr>
            <p:cNvPr id="64" name="Freeform 54">
              <a:extLst>
                <a:ext uri="{FF2B5EF4-FFF2-40B4-BE49-F238E27FC236}">
                  <a16:creationId xmlns:a16="http://schemas.microsoft.com/office/drawing/2014/main" id="{8AB6CC8F-F38E-4DF4-AE28-7417B1170EA7}"/>
                </a:ext>
              </a:extLst>
            </p:cNvPr>
            <p:cNvSpPr/>
            <p:nvPr/>
          </p:nvSpPr>
          <p:spPr>
            <a:xfrm>
              <a:off x="16150298" y="1825625"/>
              <a:ext cx="1263455" cy="1154994"/>
            </a:xfrm>
            <a:custGeom>
              <a:avLst/>
              <a:gdLst>
                <a:gd name="connsiteX0" fmla="*/ 784891 w 1263455"/>
                <a:gd name="connsiteY0" fmla="*/ 0 h 1154994"/>
                <a:gd name="connsiteX1" fmla="*/ 866530 w 1263455"/>
                <a:gd name="connsiteY1" fmla="*/ 33816 h 1154994"/>
                <a:gd name="connsiteX2" fmla="*/ 1263455 w 1263455"/>
                <a:gd name="connsiteY2" fmla="*/ 430740 h 1154994"/>
                <a:gd name="connsiteX3" fmla="*/ 1255671 w 1263455"/>
                <a:gd name="connsiteY3" fmla="*/ 458346 h 1154994"/>
                <a:gd name="connsiteX4" fmla="*/ 430298 w 1263455"/>
                <a:gd name="connsiteY4" fmla="*/ 1139960 h 1154994"/>
                <a:gd name="connsiteX5" fmla="*/ 322280 w 1263455"/>
                <a:gd name="connsiteY5" fmla="*/ 1154994 h 1154994"/>
                <a:gd name="connsiteX6" fmla="*/ 33816 w 1263455"/>
                <a:gd name="connsiteY6" fmla="*/ 866530 h 1154994"/>
                <a:gd name="connsiteX7" fmla="*/ 33816 w 1263455"/>
                <a:gd name="connsiteY7" fmla="*/ 703252 h 1154994"/>
                <a:gd name="connsiteX8" fmla="*/ 703252 w 1263455"/>
                <a:gd name="connsiteY8" fmla="*/ 33816 h 1154994"/>
                <a:gd name="connsiteX9" fmla="*/ 784891 w 1263455"/>
                <a:gd name="connsiteY9" fmla="*/ 0 h 115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3455" h="1154994">
                  <a:moveTo>
                    <a:pt x="784891" y="0"/>
                  </a:moveTo>
                  <a:cubicBezTo>
                    <a:pt x="814439" y="0"/>
                    <a:pt x="843986" y="11272"/>
                    <a:pt x="866530" y="33816"/>
                  </a:cubicBezTo>
                  <a:lnTo>
                    <a:pt x="1263455" y="430740"/>
                  </a:lnTo>
                  <a:lnTo>
                    <a:pt x="1255671" y="458346"/>
                  </a:lnTo>
                  <a:cubicBezTo>
                    <a:pt x="1138321" y="802435"/>
                    <a:pt x="822483" y="1066770"/>
                    <a:pt x="430298" y="1139960"/>
                  </a:cubicBezTo>
                  <a:lnTo>
                    <a:pt x="322280" y="1154994"/>
                  </a:lnTo>
                  <a:lnTo>
                    <a:pt x="33816" y="866530"/>
                  </a:lnTo>
                  <a:cubicBezTo>
                    <a:pt x="-11272" y="821442"/>
                    <a:pt x="-11272" y="748340"/>
                    <a:pt x="33816" y="703252"/>
                  </a:cubicBezTo>
                  <a:lnTo>
                    <a:pt x="703252" y="33816"/>
                  </a:lnTo>
                  <a:cubicBezTo>
                    <a:pt x="725796" y="11272"/>
                    <a:pt x="755344" y="0"/>
                    <a:pt x="784891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C0390695-5B47-4927-81D3-755FA766F131}"/>
              </a:ext>
            </a:extLst>
          </p:cNvPr>
          <p:cNvSpPr txBox="1"/>
          <p:nvPr/>
        </p:nvSpPr>
        <p:spPr>
          <a:xfrm>
            <a:off x="2053058" y="1950866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FFFF"/>
                </a:solidFill>
              </a:rPr>
              <a:t>Icon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ADCBA33-44FE-4671-AAE9-5263D2C028C1}"/>
              </a:ext>
            </a:extLst>
          </p:cNvPr>
          <p:cNvSpPr txBox="1"/>
          <p:nvPr/>
        </p:nvSpPr>
        <p:spPr>
          <a:xfrm>
            <a:off x="5940519" y="1950866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FFFF"/>
                </a:solidFill>
              </a:rPr>
              <a:t>Icon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A6C3E56-DE7A-407B-9967-BE3D2EDD9BD9}"/>
              </a:ext>
            </a:extLst>
          </p:cNvPr>
          <p:cNvSpPr txBox="1"/>
          <p:nvPr/>
        </p:nvSpPr>
        <p:spPr>
          <a:xfrm>
            <a:off x="9668704" y="1950866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FFFF"/>
                </a:solidFill>
              </a:rPr>
              <a:t>Icon</a:t>
            </a:r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EF44ADA9-27CC-47B3-A7A2-6B669AB3B2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810DFB32-A988-489D-B308-77586B33C7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8506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55079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hree Conte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137E3-3D99-41B2-95D7-30814A216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768E81-5D27-4AC4-9547-762879BE03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9850" y="2245019"/>
            <a:ext cx="3164099" cy="3927181"/>
          </a:xfrm>
        </p:spPr>
        <p:txBody>
          <a:bodyPr>
            <a:normAutofit/>
          </a:bodyPr>
          <a:lstStyle>
            <a:lvl1pPr marL="339725" indent="-228600">
              <a:defRPr sz="1400"/>
            </a:lvl1pPr>
            <a:lvl2pPr marL="339725" indent="-228600">
              <a:defRPr sz="1200"/>
            </a:lvl2pPr>
            <a:lvl3pPr marL="339725" indent="-228600">
              <a:defRPr sz="1100"/>
            </a:lvl3pPr>
            <a:lvl4pPr marL="339725" indent="-228600">
              <a:defRPr sz="1050"/>
            </a:lvl4pPr>
            <a:lvl5pPr marL="339725" indent="-228600"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A5F4FD7A-EA9F-4552-B3F6-30AC397A71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821E9E9-FC1A-4B4C-B58D-8D6B71B99AE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13950" y="2245019"/>
            <a:ext cx="3164099" cy="392718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1400" smtClean="0"/>
            </a:lvl1pPr>
            <a:lvl2pPr>
              <a:defRPr lang="en-US" sz="1200" smtClean="0"/>
            </a:lvl2pPr>
            <a:lvl3pPr>
              <a:defRPr lang="en-US" sz="1100" smtClean="0"/>
            </a:lvl3pPr>
            <a:lvl4pPr>
              <a:defRPr lang="en-US" sz="1050" smtClean="0"/>
            </a:lvl4pPr>
            <a:lvl5pPr>
              <a:defRPr lang="en-US" sz="1050"/>
            </a:lvl5pPr>
          </a:lstStyle>
          <a:p>
            <a:pPr marL="339725" lvl="0"/>
            <a:r>
              <a:rPr lang="en-US"/>
              <a:t>Click to edit Master text styles</a:t>
            </a:r>
          </a:p>
          <a:p>
            <a:pPr marL="339725" lvl="1"/>
            <a:r>
              <a:rPr lang="en-US"/>
              <a:t>Second level</a:t>
            </a:r>
          </a:p>
          <a:p>
            <a:pPr marL="339725" lvl="2"/>
            <a:r>
              <a:rPr lang="en-US"/>
              <a:t>Third level</a:t>
            </a:r>
          </a:p>
          <a:p>
            <a:pPr marL="339725" lvl="3"/>
            <a:r>
              <a:rPr lang="en-US"/>
              <a:t>Fourth level</a:t>
            </a:r>
          </a:p>
          <a:p>
            <a:pPr marL="339725" lvl="4"/>
            <a:r>
              <a:rPr lang="en-US"/>
              <a:t>Fifth level</a:t>
            </a:r>
            <a:endParaRPr lang="en-US" dirty="0"/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2E066841-377F-4E7E-9967-311FF4F3122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404261" y="2245019"/>
            <a:ext cx="3164099" cy="392718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1400" smtClean="0"/>
            </a:lvl1pPr>
            <a:lvl2pPr>
              <a:defRPr lang="en-US" sz="1200" smtClean="0"/>
            </a:lvl2pPr>
            <a:lvl3pPr>
              <a:defRPr lang="en-US" sz="1100" smtClean="0"/>
            </a:lvl3pPr>
            <a:lvl4pPr>
              <a:defRPr lang="en-US" sz="1050" smtClean="0"/>
            </a:lvl4pPr>
            <a:lvl5pPr>
              <a:defRPr lang="en-US" sz="1050"/>
            </a:lvl5pPr>
          </a:lstStyle>
          <a:p>
            <a:pPr marL="339725" lvl="0"/>
            <a:r>
              <a:rPr lang="en-US"/>
              <a:t>Click to edit Master text styles</a:t>
            </a:r>
          </a:p>
          <a:p>
            <a:pPr marL="339725" lvl="1"/>
            <a:r>
              <a:rPr lang="en-US"/>
              <a:t>Second level</a:t>
            </a:r>
          </a:p>
          <a:p>
            <a:pPr marL="339725" lvl="2"/>
            <a:r>
              <a:rPr lang="en-US"/>
              <a:t>Third level</a:t>
            </a:r>
          </a:p>
          <a:p>
            <a:pPr marL="339725" lvl="3"/>
            <a:r>
              <a:rPr lang="en-US"/>
              <a:t>Fourth level</a:t>
            </a:r>
          </a:p>
          <a:p>
            <a:pPr marL="339725"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9663ED81-8D89-4823-9CB9-F1766E91AB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5B15634-FF7A-4B76-AD39-A424EE8144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235358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 Withou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137E3-3D99-41B2-95D7-30814A216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768E81-5D27-4AC4-9547-762879BE03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9850" y="2198670"/>
            <a:ext cx="3164099" cy="39576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A5F4FD7A-EA9F-4552-B3F6-30AC397A71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821E9E9-FC1A-4B4C-B58D-8D6B71B99AE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13950" y="2198670"/>
            <a:ext cx="3164099" cy="39576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2E066841-377F-4E7E-9967-311FF4F3122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404261" y="2198670"/>
            <a:ext cx="3164099" cy="39576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18">
            <a:extLst>
              <a:ext uri="{FF2B5EF4-FFF2-40B4-BE49-F238E27FC236}">
                <a16:creationId xmlns:a16="http://schemas.microsoft.com/office/drawing/2014/main" id="{6E6B21D5-6327-42AE-B779-8BFB48752B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640" y="1605923"/>
            <a:ext cx="3164099" cy="452856"/>
          </a:xfrm>
          <a:solidFill>
            <a:srgbClr val="D82435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lang="en-US" sz="1400" kern="1200" dirty="0" smtClean="0">
                <a:solidFill>
                  <a:srgbClr val="FFFFFF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134A70D3-B164-4624-9FDB-771BE13F64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13950" y="1605923"/>
            <a:ext cx="3164099" cy="452856"/>
          </a:xfrm>
          <a:solidFill>
            <a:srgbClr val="D82435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lang="en-US" sz="1400" kern="1200" dirty="0" smtClean="0">
                <a:solidFill>
                  <a:srgbClr val="FFFFFF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2268C08B-A65C-43CD-8860-8E985542F6D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99251" y="1605923"/>
            <a:ext cx="3164099" cy="452856"/>
          </a:xfrm>
          <a:solidFill>
            <a:srgbClr val="D82435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lang="en-US" sz="1400" kern="1200" dirty="0" smtClean="0">
                <a:solidFill>
                  <a:srgbClr val="FFFFFF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EDF83CB-08BF-4DF8-9C1B-291914C330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9C5044EC-0561-4810-A1A5-D1F08ECABF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90844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hree Content Withou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137E3-3D99-41B2-95D7-30814A216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768E81-5D27-4AC4-9547-762879BE03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9850" y="2198670"/>
            <a:ext cx="5161350" cy="39576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A5F4FD7A-EA9F-4552-B3F6-30AC397A71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821E9E9-FC1A-4B4C-B58D-8D6B71B99AE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366934" y="2198670"/>
            <a:ext cx="5222716" cy="39576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9" name="Text Placeholder 18">
            <a:extLst>
              <a:ext uri="{FF2B5EF4-FFF2-40B4-BE49-F238E27FC236}">
                <a16:creationId xmlns:a16="http://schemas.microsoft.com/office/drawing/2014/main" id="{6E6B21D5-6327-42AE-B779-8BFB48752B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640" y="1605923"/>
            <a:ext cx="5161350" cy="452856"/>
          </a:xfrm>
          <a:solidFill>
            <a:srgbClr val="D82435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lang="en-US" sz="1400" kern="1200" dirty="0" smtClean="0">
                <a:solidFill>
                  <a:srgbClr val="FFFFFF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134A70D3-B164-4624-9FDB-771BE13F64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6934" y="1605923"/>
            <a:ext cx="5222716" cy="452856"/>
          </a:xfrm>
          <a:solidFill>
            <a:srgbClr val="D82435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lang="en-US" sz="1400" kern="1200" dirty="0" smtClean="0">
                <a:solidFill>
                  <a:srgbClr val="FFFFFF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A413BB3-F7D8-4260-B808-3B3B9388BE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9DDA93E0-D403-4362-A9D0-025D39BF90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00843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xpla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F66D0B-423C-4F60-8A41-38AB77CCF537}"/>
              </a:ext>
            </a:extLst>
          </p:cNvPr>
          <p:cNvSpPr/>
          <p:nvPr/>
        </p:nvSpPr>
        <p:spPr>
          <a:xfrm>
            <a:off x="-1" y="1841224"/>
            <a:ext cx="6889711" cy="3175550"/>
          </a:xfrm>
          <a:prstGeom prst="rect">
            <a:avLst/>
          </a:prstGeom>
          <a:solidFill>
            <a:schemeClr val="bg1">
              <a:lumMod val="95000"/>
              <a:alpha val="2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801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C62E4-0AFF-4351-939C-57BFEA05B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56565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A43813B-3A95-4FEF-B670-00EE21492575}"/>
              </a:ext>
            </a:extLst>
          </p:cNvPr>
          <p:cNvCxnSpPr/>
          <p:nvPr/>
        </p:nvCxnSpPr>
        <p:spPr>
          <a:xfrm>
            <a:off x="6889721" y="1506807"/>
            <a:ext cx="0" cy="384438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3D20252A-7551-45F7-9B8F-583C860DEE3A}"/>
              </a:ext>
            </a:extLst>
          </p:cNvPr>
          <p:cNvGrpSpPr/>
          <p:nvPr/>
        </p:nvGrpSpPr>
        <p:grpSpPr>
          <a:xfrm>
            <a:off x="7202187" y="1838872"/>
            <a:ext cx="4368818" cy="3180254"/>
            <a:chOff x="7918845" y="1677167"/>
            <a:chExt cx="3501977" cy="292709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D3D9519-45CC-4539-B75A-DB216CCB7CB2}"/>
                </a:ext>
              </a:extLst>
            </p:cNvPr>
            <p:cNvSpPr/>
            <p:nvPr/>
          </p:nvSpPr>
          <p:spPr>
            <a:xfrm>
              <a:off x="7918845" y="2489895"/>
              <a:ext cx="2947038" cy="1016255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ID" sz="1400" dirty="0">
                  <a:solidFill>
                    <a:srgbClr val="565656"/>
                  </a:solidFill>
                  <a:latin typeface="Nexa Light" panose="02000000000000000000" pitchFamily="50" charset="0"/>
                </a:rPr>
                <a:t>Lorem ipsum dolor sit amet, consectetur adipiscing elit. Donec nec sollicitudin est. Proin iaculis purus sed accumsan lacinia. Nullam vel nisl sit amet ex ultricies sagittis. 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B99809D-1F4E-4A11-A02C-EFF40E6FFF51}"/>
                </a:ext>
              </a:extLst>
            </p:cNvPr>
            <p:cNvSpPr/>
            <p:nvPr/>
          </p:nvSpPr>
          <p:spPr>
            <a:xfrm>
              <a:off x="7918845" y="1677167"/>
              <a:ext cx="2947036" cy="609654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da-DK" sz="1801" dirty="0">
                  <a:solidFill>
                    <a:srgbClr val="D82435"/>
                  </a:solidFill>
                  <a:latin typeface="Nexa Bold" panose="02000000000000000000" pitchFamily="50" charset="0"/>
                </a:rPr>
                <a:t>LOREM IPSUM DOLOR SIT AMET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4589976-AD3F-43F2-A204-5014A082DD53}"/>
                </a:ext>
              </a:extLst>
            </p:cNvPr>
            <p:cNvSpPr/>
            <p:nvPr/>
          </p:nvSpPr>
          <p:spPr>
            <a:xfrm>
              <a:off x="8091997" y="3733189"/>
              <a:ext cx="3328825" cy="871076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71454" indent="-171454">
                <a:lnSpc>
                  <a:spcPct val="130000"/>
                </a:lnSpc>
                <a:buClr>
                  <a:srgbClr val="D82435"/>
                </a:buClr>
                <a:buFont typeface="Arial" panose="020B0604020202020204" pitchFamily="34" charset="0"/>
                <a:buChar char="›"/>
              </a:pPr>
              <a:r>
                <a:rPr lang="en-ID" sz="1200" dirty="0">
                  <a:solidFill>
                    <a:srgbClr val="565656"/>
                  </a:solidFill>
                  <a:latin typeface="Nexa Light" panose="02000000000000000000" pitchFamily="50" charset="0"/>
                </a:rPr>
                <a:t>Lorem ipsum dolor sit amet, consectetur</a:t>
              </a:r>
            </a:p>
            <a:p>
              <a:pPr marL="171454" indent="-171454">
                <a:lnSpc>
                  <a:spcPct val="130000"/>
                </a:lnSpc>
                <a:buClr>
                  <a:srgbClr val="D82435"/>
                </a:buClr>
                <a:buFont typeface="Arial" panose="020B0604020202020204" pitchFamily="34" charset="0"/>
                <a:buChar char="›"/>
              </a:pPr>
              <a:r>
                <a:rPr lang="en-ID" sz="1200" dirty="0">
                  <a:solidFill>
                    <a:srgbClr val="565656"/>
                  </a:solidFill>
                  <a:latin typeface="Nexa Light" panose="02000000000000000000" pitchFamily="50" charset="0"/>
                </a:rPr>
                <a:t>Lorem ipsum dolor sit amet, consectetur</a:t>
              </a:r>
            </a:p>
            <a:p>
              <a:pPr marL="171454" indent="-171454">
                <a:lnSpc>
                  <a:spcPct val="130000"/>
                </a:lnSpc>
                <a:buClr>
                  <a:srgbClr val="D82435"/>
                </a:buClr>
                <a:buFont typeface="Arial" panose="020B0604020202020204" pitchFamily="34" charset="0"/>
                <a:buChar char="›"/>
              </a:pPr>
              <a:r>
                <a:rPr lang="en-ID" sz="1200" dirty="0">
                  <a:solidFill>
                    <a:srgbClr val="565656"/>
                  </a:solidFill>
                  <a:latin typeface="Nexa Light" panose="02000000000000000000" pitchFamily="50" charset="0"/>
                </a:rPr>
                <a:t>Lorem ipsum dolor sit amet, consectetur</a:t>
              </a:r>
            </a:p>
            <a:p>
              <a:pPr marL="171454" indent="-171454">
                <a:lnSpc>
                  <a:spcPct val="130000"/>
                </a:lnSpc>
                <a:buClr>
                  <a:srgbClr val="D82435"/>
                </a:buClr>
                <a:buFont typeface="Arial" panose="020B0604020202020204" pitchFamily="34" charset="0"/>
                <a:buChar char="›"/>
              </a:pPr>
              <a:r>
                <a:rPr lang="en-ID" sz="1200" dirty="0">
                  <a:solidFill>
                    <a:srgbClr val="565656"/>
                  </a:solidFill>
                  <a:latin typeface="Nexa Light" panose="02000000000000000000" pitchFamily="50" charset="0"/>
                </a:rPr>
                <a:t>Lorem ipsum dolor sit amet, consectetur</a:t>
              </a:r>
            </a:p>
          </p:txBody>
        </p:sp>
      </p:grp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62484F5-75A5-4513-A8D5-AF0078B83A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5032DBED-C437-4998-B66F-57B4B2ADED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906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F66D0B-423C-4F60-8A41-38AB77CCF537}"/>
              </a:ext>
            </a:extLst>
          </p:cNvPr>
          <p:cNvSpPr/>
          <p:nvPr/>
        </p:nvSpPr>
        <p:spPr>
          <a:xfrm>
            <a:off x="0" y="1554590"/>
            <a:ext cx="12192000" cy="31755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801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C62E4-0AFF-4351-939C-57BFEA05B8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3929F9CE-D09D-4447-A639-6D73D98D8A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4F19698-6AF1-48E7-9D58-0F5693B32F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FDD050D8-3560-4358-8279-5D569A7E54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34718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003373-1794-42BB-8A2E-B64962B20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296" y="365126"/>
            <a:ext cx="10955709" cy="6005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F634C9-8108-43DA-8F71-0985176D05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  <a:lvl5pPr>
              <a:spcAft>
                <a:spcPts val="12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F1007C03-1B49-4195-87D9-C2D07D472557}"/>
              </a:ext>
            </a:extLst>
          </p:cNvPr>
          <p:cNvSpPr txBox="1">
            <a:spLocks/>
          </p:cNvSpPr>
          <p:nvPr/>
        </p:nvSpPr>
        <p:spPr>
          <a:xfrm>
            <a:off x="655314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05C0DED-35EE-462E-94F7-088C6BE6011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 b="4005"/>
          <a:stretch/>
        </p:blipFill>
        <p:spPr>
          <a:xfrm>
            <a:off x="1" y="6089129"/>
            <a:ext cx="3492938" cy="57517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CA09138-4794-41B2-8B94-A58BC40C75BF}"/>
              </a:ext>
            </a:extLst>
          </p:cNvPr>
          <p:cNvSpPr/>
          <p:nvPr/>
        </p:nvSpPr>
        <p:spPr>
          <a:xfrm>
            <a:off x="609001" y="6666650"/>
            <a:ext cx="337791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 sz="1801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24999FE-1E04-4B3D-A05B-5D4A136192CE}"/>
              </a:ext>
            </a:extLst>
          </p:cNvPr>
          <p:cNvSpPr txBox="1">
            <a:spLocks/>
          </p:cNvSpPr>
          <p:nvPr/>
        </p:nvSpPr>
        <p:spPr>
          <a:xfrm>
            <a:off x="655314" y="6681890"/>
            <a:ext cx="245700" cy="170006"/>
          </a:xfrm>
          <a:prstGeom prst="rect">
            <a:avLst/>
          </a:prstGeom>
        </p:spPr>
        <p:txBody>
          <a:bodyPr vert="horz" lIns="0" tIns="36000" rIns="0" bIns="3600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bg1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6F4544B-0D22-43A3-93EF-F88095C56C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E616E8FE-F2C0-40A6-8B57-4D9A3BF27C12}"/>
              </a:ext>
            </a:extLst>
          </p:cNvPr>
          <p:cNvSpPr txBox="1">
            <a:spLocks/>
          </p:cNvSpPr>
          <p:nvPr/>
        </p:nvSpPr>
        <p:spPr>
          <a:xfrm>
            <a:off x="655314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1C2F9B8-FA05-4A6E-82A0-2966E905CBF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 b="4005"/>
          <a:stretch/>
        </p:blipFill>
        <p:spPr>
          <a:xfrm>
            <a:off x="1" y="6089129"/>
            <a:ext cx="3492938" cy="57517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21E68F2E-4EFF-4D2D-B51E-415FE8FD39B3}"/>
              </a:ext>
            </a:extLst>
          </p:cNvPr>
          <p:cNvSpPr/>
          <p:nvPr/>
        </p:nvSpPr>
        <p:spPr>
          <a:xfrm>
            <a:off x="609001" y="6666650"/>
            <a:ext cx="337791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 sz="1801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3CFB9BFE-C0DD-4AC6-8AF5-36AA08A8C3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599447D4-BE74-48FD-B17E-DBF3D3B041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097615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003373-1794-42BB-8A2E-B64962B20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296" y="365126"/>
            <a:ext cx="10955709" cy="6005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F634C9-8108-43DA-8F71-0985176D050F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Tx/>
              <a:buFont typeface="Nexa Light" panose="02000000000000000000" pitchFamily="50" charset="0"/>
              <a:buNone/>
              <a:tabLst/>
              <a:defRPr/>
            </a:lvl1pPr>
          </a:lstStyle>
          <a:p>
            <a:pPr lvl="0"/>
            <a:r>
              <a:rPr lang="en-US" dirty="0"/>
              <a:t>"Lorem ipsum dolor sit amet, consectetur adipiscing elit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 </a:t>
            </a: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r>
              <a:rPr lang="en-US" dirty="0"/>
              <a:t> non </a:t>
            </a:r>
            <a:r>
              <a:rPr lang="en-US" dirty="0" err="1"/>
              <a:t>proident</a:t>
            </a:r>
            <a:r>
              <a:rPr lang="en-US" dirty="0"/>
              <a:t>, sunt in culpa qui </a:t>
            </a:r>
            <a:r>
              <a:rPr lang="en-US" dirty="0" err="1"/>
              <a:t>officia</a:t>
            </a:r>
            <a:r>
              <a:rPr lang="en-US" dirty="0"/>
              <a:t> </a:t>
            </a:r>
            <a:r>
              <a:rPr lang="en-US" dirty="0" err="1"/>
              <a:t>deserunt</a:t>
            </a:r>
            <a:r>
              <a:rPr lang="en-US" dirty="0"/>
              <a:t> </a:t>
            </a:r>
            <a:r>
              <a:rPr lang="en-US" dirty="0" err="1"/>
              <a:t>mollit</a:t>
            </a:r>
            <a:r>
              <a:rPr lang="en-US" dirty="0"/>
              <a:t> </a:t>
            </a:r>
            <a:r>
              <a:rPr lang="en-US" dirty="0" err="1"/>
              <a:t>anim</a:t>
            </a:r>
            <a:r>
              <a:rPr lang="en-US" dirty="0"/>
              <a:t> id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laborum</a:t>
            </a:r>
            <a:r>
              <a:rPr lang="en-US" dirty="0"/>
              <a:t>.“</a:t>
            </a:r>
          </a:p>
          <a:p>
            <a:pPr lvl="0"/>
            <a:r>
              <a:rPr lang="en-US" dirty="0"/>
              <a:t>"Sed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perspiciatis</a:t>
            </a:r>
            <a:r>
              <a:rPr lang="en-US" dirty="0"/>
              <a:t> </a:t>
            </a:r>
            <a:r>
              <a:rPr lang="en-US" dirty="0" err="1"/>
              <a:t>unde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</a:t>
            </a:r>
            <a:r>
              <a:rPr lang="en-US" dirty="0" err="1"/>
              <a:t>iste</a:t>
            </a:r>
            <a:r>
              <a:rPr lang="en-US" dirty="0"/>
              <a:t> </a:t>
            </a:r>
            <a:r>
              <a:rPr lang="en-US" dirty="0" err="1"/>
              <a:t>natus</a:t>
            </a:r>
            <a:r>
              <a:rPr lang="en-US" dirty="0"/>
              <a:t> error sit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accusantium</a:t>
            </a:r>
            <a:r>
              <a:rPr lang="en-US" dirty="0"/>
              <a:t> </a:t>
            </a:r>
            <a:r>
              <a:rPr lang="en-US" dirty="0" err="1"/>
              <a:t>doloremque</a:t>
            </a:r>
            <a:r>
              <a:rPr lang="en-US" dirty="0"/>
              <a:t> </a:t>
            </a:r>
            <a:r>
              <a:rPr lang="en-US" dirty="0" err="1"/>
              <a:t>laudantium</a:t>
            </a:r>
            <a:r>
              <a:rPr lang="en-US" dirty="0"/>
              <a:t>, </a:t>
            </a:r>
            <a:r>
              <a:rPr lang="en-US" dirty="0" err="1"/>
              <a:t>totam</a:t>
            </a:r>
            <a:r>
              <a:rPr lang="en-US" dirty="0"/>
              <a:t> rem </a:t>
            </a:r>
            <a:r>
              <a:rPr lang="en-US" dirty="0" err="1"/>
              <a:t>aperiam</a:t>
            </a:r>
            <a:r>
              <a:rPr lang="en-US" dirty="0"/>
              <a:t>, </a:t>
            </a:r>
            <a:r>
              <a:rPr lang="en-US" dirty="0" err="1"/>
              <a:t>eaque</a:t>
            </a:r>
            <a:r>
              <a:rPr lang="en-US" dirty="0"/>
              <a:t> </a:t>
            </a:r>
            <a:r>
              <a:rPr lang="en-US" dirty="0" err="1"/>
              <a:t>ipsa</a:t>
            </a:r>
            <a:r>
              <a:rPr lang="en-US" dirty="0"/>
              <a:t> </a:t>
            </a:r>
            <a:r>
              <a:rPr lang="en-US" dirty="0" err="1"/>
              <a:t>quae</a:t>
            </a:r>
            <a:r>
              <a:rPr lang="en-US" dirty="0"/>
              <a:t> ab </a:t>
            </a:r>
            <a:r>
              <a:rPr lang="en-US" dirty="0" err="1"/>
              <a:t>illo</a:t>
            </a:r>
            <a:r>
              <a:rPr lang="en-US" dirty="0"/>
              <a:t> </a:t>
            </a:r>
            <a:r>
              <a:rPr lang="en-US" dirty="0" err="1"/>
              <a:t>inventore</a:t>
            </a:r>
            <a:r>
              <a:rPr lang="en-US" dirty="0"/>
              <a:t> </a:t>
            </a:r>
            <a:r>
              <a:rPr lang="en-US" dirty="0" err="1"/>
              <a:t>veritatis</a:t>
            </a:r>
            <a:r>
              <a:rPr lang="en-US" dirty="0"/>
              <a:t> et quasi </a:t>
            </a:r>
            <a:r>
              <a:rPr lang="en-US" dirty="0" err="1"/>
              <a:t>architecto</a:t>
            </a:r>
            <a:r>
              <a:rPr lang="en-US" dirty="0"/>
              <a:t> </a:t>
            </a:r>
            <a:r>
              <a:rPr lang="en-US" dirty="0" err="1"/>
              <a:t>beatae</a:t>
            </a:r>
            <a:r>
              <a:rPr lang="en-US" dirty="0"/>
              <a:t> vitae dicta sunt </a:t>
            </a:r>
            <a:r>
              <a:rPr lang="en-US" dirty="0" err="1"/>
              <a:t>explicabo</a:t>
            </a:r>
            <a:r>
              <a:rPr lang="en-US" dirty="0"/>
              <a:t>. Nemo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ipsam</a:t>
            </a:r>
            <a:r>
              <a:rPr lang="en-US" dirty="0"/>
              <a:t>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voluptas</a:t>
            </a:r>
            <a:r>
              <a:rPr lang="en-US" dirty="0"/>
              <a:t> sit </a:t>
            </a:r>
            <a:r>
              <a:rPr lang="en-US" dirty="0" err="1"/>
              <a:t>aspernatur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odi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fugit, sed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consequuntur</a:t>
            </a:r>
            <a:r>
              <a:rPr lang="en-US" dirty="0"/>
              <a:t> </a:t>
            </a:r>
            <a:r>
              <a:rPr lang="en-US" dirty="0" err="1"/>
              <a:t>magni</a:t>
            </a:r>
            <a:r>
              <a:rPr lang="en-US" dirty="0"/>
              <a:t> </a:t>
            </a:r>
            <a:r>
              <a:rPr lang="en-US" dirty="0" err="1"/>
              <a:t>dolore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qui </a:t>
            </a:r>
            <a:r>
              <a:rPr lang="en-US" dirty="0" err="1"/>
              <a:t>ratione</a:t>
            </a:r>
            <a:r>
              <a:rPr lang="en-US" dirty="0"/>
              <a:t>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sequi</a:t>
            </a:r>
            <a:r>
              <a:rPr lang="en-US" dirty="0"/>
              <a:t> </a:t>
            </a:r>
            <a:r>
              <a:rPr lang="en-US" dirty="0" err="1"/>
              <a:t>nesciunt</a:t>
            </a:r>
            <a:r>
              <a:rPr lang="en-US" dirty="0"/>
              <a:t>. </a:t>
            </a:r>
            <a:r>
              <a:rPr lang="en-US" dirty="0" err="1"/>
              <a:t>Neque</a:t>
            </a:r>
            <a:r>
              <a:rPr lang="en-US" dirty="0"/>
              <a:t> </a:t>
            </a:r>
            <a:r>
              <a:rPr lang="en-US" dirty="0" err="1"/>
              <a:t>porro</a:t>
            </a:r>
            <a:r>
              <a:rPr lang="en-US" dirty="0"/>
              <a:t> </a:t>
            </a:r>
            <a:r>
              <a:rPr lang="en-US" dirty="0" err="1"/>
              <a:t>quisquam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dolorem</a:t>
            </a:r>
            <a:r>
              <a:rPr lang="en-US" dirty="0"/>
              <a:t> ipsum </a:t>
            </a:r>
            <a:r>
              <a:rPr lang="en-US" dirty="0" err="1"/>
              <a:t>quia</a:t>
            </a:r>
            <a:r>
              <a:rPr lang="en-US" dirty="0"/>
              <a:t> dolor sit amet, consectetur, </a:t>
            </a:r>
            <a:r>
              <a:rPr lang="en-US" dirty="0" err="1"/>
              <a:t>adipisci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, sed </a:t>
            </a:r>
            <a:r>
              <a:rPr lang="en-US" dirty="0" err="1"/>
              <a:t>quia</a:t>
            </a:r>
            <a:r>
              <a:rPr lang="en-US" dirty="0"/>
              <a:t> non </a:t>
            </a:r>
            <a:r>
              <a:rPr lang="en-US" dirty="0" err="1"/>
              <a:t>numquam</a:t>
            </a:r>
            <a:r>
              <a:rPr lang="en-US" dirty="0"/>
              <a:t> </a:t>
            </a:r>
            <a:r>
              <a:rPr lang="en-US" dirty="0" err="1"/>
              <a:t>eius</a:t>
            </a:r>
            <a:r>
              <a:rPr lang="en-US" dirty="0"/>
              <a:t> </a:t>
            </a:r>
            <a:r>
              <a:rPr lang="en-US" dirty="0" err="1"/>
              <a:t>modi</a:t>
            </a:r>
            <a:r>
              <a:rPr lang="en-US" dirty="0"/>
              <a:t> </a:t>
            </a:r>
            <a:r>
              <a:rPr lang="en-US" dirty="0" err="1"/>
              <a:t>tempora</a:t>
            </a:r>
            <a:r>
              <a:rPr lang="en-US" dirty="0"/>
              <a:t> </a:t>
            </a:r>
            <a:r>
              <a:rPr lang="en-US" dirty="0" err="1"/>
              <a:t>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</a:t>
            </a:r>
            <a:r>
              <a:rPr lang="en-US" dirty="0" err="1"/>
              <a:t>magnam</a:t>
            </a:r>
            <a:r>
              <a:rPr lang="en-US" dirty="0"/>
              <a:t>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quaerat</a:t>
            </a:r>
            <a:r>
              <a:rPr lang="en-US" dirty="0"/>
              <a:t> </a:t>
            </a:r>
            <a:r>
              <a:rPr lang="en-US" dirty="0" err="1"/>
              <a:t>voluptatem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a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nostrum </a:t>
            </a:r>
            <a:r>
              <a:rPr lang="en-US" dirty="0" err="1"/>
              <a:t>exercitationem</a:t>
            </a:r>
            <a:r>
              <a:rPr lang="en-US" dirty="0"/>
              <a:t> </a:t>
            </a:r>
            <a:r>
              <a:rPr lang="en-US" dirty="0" err="1"/>
              <a:t>ullam</a:t>
            </a:r>
            <a:r>
              <a:rPr lang="en-US" dirty="0"/>
              <a:t> corporis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aboriosam</a:t>
            </a:r>
            <a:r>
              <a:rPr lang="en-US" dirty="0"/>
              <a:t>,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d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i</a:t>
            </a:r>
            <a:r>
              <a:rPr lang="en-US" dirty="0"/>
              <a:t> </a:t>
            </a:r>
            <a:r>
              <a:rPr lang="en-US" dirty="0" err="1"/>
              <a:t>consequatur</a:t>
            </a:r>
            <a:r>
              <a:rPr lang="en-US" dirty="0"/>
              <a:t>?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vel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ure</a:t>
            </a:r>
            <a:r>
              <a:rPr lang="en-US" dirty="0"/>
              <a:t> </a:t>
            </a:r>
            <a:r>
              <a:rPr lang="en-US" dirty="0" err="1"/>
              <a:t>reprehenderit</a:t>
            </a:r>
            <a:r>
              <a:rPr lang="en-US" dirty="0"/>
              <a:t> qui in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nihil </a:t>
            </a:r>
            <a:r>
              <a:rPr lang="en-US" dirty="0" err="1"/>
              <a:t>molestiae</a:t>
            </a:r>
            <a:r>
              <a:rPr lang="en-US" dirty="0"/>
              <a:t> </a:t>
            </a:r>
            <a:r>
              <a:rPr lang="en-US" dirty="0" err="1"/>
              <a:t>consequatur</a:t>
            </a:r>
            <a:r>
              <a:rPr lang="en-US" dirty="0"/>
              <a:t>, vel </a:t>
            </a:r>
            <a:r>
              <a:rPr lang="en-US" dirty="0" err="1"/>
              <a:t>illum</a:t>
            </a:r>
            <a:r>
              <a:rPr lang="en-US" dirty="0"/>
              <a:t> qui </a:t>
            </a:r>
            <a:r>
              <a:rPr lang="en-US" dirty="0" err="1"/>
              <a:t>dolorem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quo </a:t>
            </a:r>
            <a:r>
              <a:rPr lang="en-US" dirty="0" err="1"/>
              <a:t>voluptas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?“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Tx/>
              <a:buFont typeface="Nexa Light" panose="02000000000000000000" pitchFamily="50" charset="0"/>
              <a:buNone/>
              <a:tabLst/>
              <a:defRPr/>
            </a:pPr>
            <a:r>
              <a:rPr lang="en-US" dirty="0"/>
              <a:t>"Lorem ipsum dolor sit amet, consectetur adipiscing elit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 </a:t>
            </a: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r>
              <a:rPr lang="en-US" dirty="0"/>
              <a:t> non </a:t>
            </a:r>
            <a:r>
              <a:rPr lang="en-US" dirty="0" err="1"/>
              <a:t>proident</a:t>
            </a:r>
            <a:r>
              <a:rPr lang="en-US" dirty="0"/>
              <a:t>, sunt in culpa qui </a:t>
            </a:r>
            <a:r>
              <a:rPr lang="en-US" dirty="0" err="1"/>
              <a:t>officia</a:t>
            </a:r>
            <a:r>
              <a:rPr lang="en-US" dirty="0"/>
              <a:t> </a:t>
            </a:r>
            <a:r>
              <a:rPr lang="en-US" dirty="0" err="1"/>
              <a:t>deserunt</a:t>
            </a:r>
            <a:r>
              <a:rPr lang="en-US" dirty="0"/>
              <a:t> </a:t>
            </a:r>
            <a:r>
              <a:rPr lang="en-US" dirty="0" err="1"/>
              <a:t>mollit</a:t>
            </a:r>
            <a:r>
              <a:rPr lang="en-US" dirty="0"/>
              <a:t> </a:t>
            </a:r>
            <a:r>
              <a:rPr lang="en-US" dirty="0" err="1"/>
              <a:t>anim</a:t>
            </a:r>
            <a:r>
              <a:rPr lang="en-US" dirty="0"/>
              <a:t> id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laborum</a:t>
            </a:r>
            <a:r>
              <a:rPr lang="en-US" dirty="0"/>
              <a:t>.“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Tx/>
              <a:buFont typeface="Nexa Light" panose="02000000000000000000" pitchFamily="50" charset="0"/>
              <a:buNone/>
              <a:tabLst/>
              <a:defRPr/>
            </a:pPr>
            <a:r>
              <a:rPr lang="en-US" dirty="0"/>
              <a:t>"Lorem ipsum dolor sit amet, consectetur adipiscing elit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 </a:t>
            </a: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r>
              <a:rPr lang="en-US" dirty="0"/>
              <a:t> non </a:t>
            </a:r>
            <a:r>
              <a:rPr lang="en-US" dirty="0" err="1"/>
              <a:t>proident</a:t>
            </a:r>
            <a:r>
              <a:rPr lang="en-US" dirty="0"/>
              <a:t>, sunt in culpa qui </a:t>
            </a:r>
            <a:r>
              <a:rPr lang="en-US" dirty="0" err="1"/>
              <a:t>officia</a:t>
            </a:r>
            <a:r>
              <a:rPr lang="en-US" dirty="0"/>
              <a:t> </a:t>
            </a:r>
            <a:r>
              <a:rPr lang="en-US" dirty="0" err="1"/>
              <a:t>deserunt</a:t>
            </a:r>
            <a:r>
              <a:rPr lang="en-US" dirty="0"/>
              <a:t> </a:t>
            </a:r>
            <a:r>
              <a:rPr lang="en-US" dirty="0" err="1"/>
              <a:t>mollit</a:t>
            </a:r>
            <a:r>
              <a:rPr lang="en-US" dirty="0"/>
              <a:t> </a:t>
            </a:r>
            <a:r>
              <a:rPr lang="en-US" dirty="0" err="1"/>
              <a:t>anim</a:t>
            </a:r>
            <a:r>
              <a:rPr lang="en-US" dirty="0"/>
              <a:t> id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laborum</a:t>
            </a:r>
            <a:r>
              <a:rPr lang="en-US" dirty="0"/>
              <a:t>.“</a:t>
            </a:r>
          </a:p>
        </p:txBody>
      </p:sp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F1007C03-1B49-4195-87D9-C2D07D472557}"/>
              </a:ext>
            </a:extLst>
          </p:cNvPr>
          <p:cNvSpPr txBox="1">
            <a:spLocks/>
          </p:cNvSpPr>
          <p:nvPr/>
        </p:nvSpPr>
        <p:spPr>
          <a:xfrm>
            <a:off x="655314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05C0DED-35EE-462E-94F7-088C6BE6011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 b="4005"/>
          <a:stretch/>
        </p:blipFill>
        <p:spPr>
          <a:xfrm>
            <a:off x="1" y="6089129"/>
            <a:ext cx="3492938" cy="57517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CA09138-4794-41B2-8B94-A58BC40C75BF}"/>
              </a:ext>
            </a:extLst>
          </p:cNvPr>
          <p:cNvSpPr/>
          <p:nvPr/>
        </p:nvSpPr>
        <p:spPr>
          <a:xfrm>
            <a:off x="609001" y="6666650"/>
            <a:ext cx="337791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 sz="1801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24999FE-1E04-4B3D-A05B-5D4A136192CE}"/>
              </a:ext>
            </a:extLst>
          </p:cNvPr>
          <p:cNvSpPr txBox="1">
            <a:spLocks/>
          </p:cNvSpPr>
          <p:nvPr/>
        </p:nvSpPr>
        <p:spPr>
          <a:xfrm>
            <a:off x="655314" y="6681890"/>
            <a:ext cx="245700" cy="170006"/>
          </a:xfrm>
          <a:prstGeom prst="rect">
            <a:avLst/>
          </a:prstGeom>
        </p:spPr>
        <p:txBody>
          <a:bodyPr vert="horz" lIns="0" tIns="36000" rIns="0" bIns="3600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bg1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6F4544B-0D22-43A3-93EF-F88095C56C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E616E8FE-F2C0-40A6-8B57-4D9A3BF27C12}"/>
              </a:ext>
            </a:extLst>
          </p:cNvPr>
          <p:cNvSpPr txBox="1">
            <a:spLocks/>
          </p:cNvSpPr>
          <p:nvPr/>
        </p:nvSpPr>
        <p:spPr>
          <a:xfrm>
            <a:off x="655314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1C2F9B8-FA05-4A6E-82A0-2966E905CBF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 b="4005"/>
          <a:stretch/>
        </p:blipFill>
        <p:spPr>
          <a:xfrm>
            <a:off x="1" y="6089129"/>
            <a:ext cx="3492938" cy="57517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21E68F2E-4EFF-4D2D-B51E-415FE8FD39B3}"/>
              </a:ext>
            </a:extLst>
          </p:cNvPr>
          <p:cNvSpPr/>
          <p:nvPr/>
        </p:nvSpPr>
        <p:spPr>
          <a:xfrm>
            <a:off x="609001" y="6666650"/>
            <a:ext cx="337791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 sz="1801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52712BB7-EA3D-40DE-A354-4A84E329D0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D6E562C6-0B4A-4997-BCA6-370DC734E5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76691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003373-1794-42BB-8A2E-B64962B20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296" y="365126"/>
            <a:ext cx="10955709" cy="6005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F634C9-8108-43DA-8F71-0985176D050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15297" y="1598065"/>
            <a:ext cx="5162995" cy="4505832"/>
          </a:xfrm>
        </p:spPr>
        <p:txBody>
          <a:bodyPr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Tx/>
              <a:buFont typeface="Nexa Light" panose="02000000000000000000" pitchFamily="50" charset="0"/>
              <a:buNone/>
              <a:tabLst/>
              <a:defRPr/>
            </a:lvl1pPr>
          </a:lstStyle>
          <a:p>
            <a:pPr lvl="0"/>
            <a:r>
              <a:rPr lang="en-US" dirty="0" err="1"/>
              <a:t>dolore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qui </a:t>
            </a:r>
            <a:r>
              <a:rPr lang="en-US" dirty="0" err="1"/>
              <a:t>ratione</a:t>
            </a:r>
            <a:r>
              <a:rPr lang="en-US" dirty="0"/>
              <a:t>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sequi</a:t>
            </a:r>
            <a:r>
              <a:rPr lang="en-US" dirty="0"/>
              <a:t> </a:t>
            </a:r>
            <a:r>
              <a:rPr lang="en-US" dirty="0" err="1"/>
              <a:t>nesciunt</a:t>
            </a:r>
            <a:r>
              <a:rPr lang="en-US" dirty="0"/>
              <a:t>. </a:t>
            </a:r>
            <a:r>
              <a:rPr lang="en-US" dirty="0" err="1"/>
              <a:t>Neque</a:t>
            </a:r>
            <a:r>
              <a:rPr lang="en-US" dirty="0"/>
              <a:t> </a:t>
            </a:r>
            <a:r>
              <a:rPr lang="en-US" dirty="0" err="1"/>
              <a:t>porro</a:t>
            </a:r>
            <a:r>
              <a:rPr lang="en-US" dirty="0"/>
              <a:t> </a:t>
            </a:r>
            <a:r>
              <a:rPr lang="en-US" dirty="0" err="1"/>
              <a:t>quisquam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dolorem</a:t>
            </a:r>
            <a:r>
              <a:rPr lang="en-US" dirty="0"/>
              <a:t> ipsum </a:t>
            </a:r>
            <a:r>
              <a:rPr lang="en-US" dirty="0" err="1"/>
              <a:t>quia</a:t>
            </a:r>
            <a:r>
              <a:rPr lang="en-US" dirty="0"/>
              <a:t> dolor sit amet, consectetur, </a:t>
            </a:r>
            <a:r>
              <a:rPr lang="en-US" dirty="0" err="1"/>
              <a:t>adipisci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, sed </a:t>
            </a:r>
            <a:r>
              <a:rPr lang="en-US" dirty="0" err="1"/>
              <a:t>ullam</a:t>
            </a:r>
            <a:r>
              <a:rPr lang="en-US" dirty="0"/>
              <a:t> corporis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aboriosam</a:t>
            </a:r>
            <a:r>
              <a:rPr lang="en-US" dirty="0"/>
              <a:t>,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d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i</a:t>
            </a:r>
            <a:r>
              <a:rPr lang="en-US" dirty="0"/>
              <a:t> </a:t>
            </a:r>
            <a:r>
              <a:rPr lang="en-US" dirty="0" err="1"/>
              <a:t>consequatur</a:t>
            </a:r>
            <a:r>
              <a:rPr lang="en-US" dirty="0"/>
              <a:t>?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vel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ure</a:t>
            </a:r>
            <a:r>
              <a:rPr lang="en-US" dirty="0"/>
              <a:t> </a:t>
            </a:r>
            <a:r>
              <a:rPr lang="en-US" dirty="0" err="1"/>
              <a:t>reprehenderit</a:t>
            </a:r>
            <a:r>
              <a:rPr lang="en-US" dirty="0"/>
              <a:t> qui in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nihil </a:t>
            </a:r>
            <a:r>
              <a:rPr lang="en-US" dirty="0" err="1"/>
              <a:t>molestiae</a:t>
            </a:r>
            <a:r>
              <a:rPr lang="en-US" dirty="0"/>
              <a:t> </a:t>
            </a:r>
            <a:r>
              <a:rPr lang="en-US" dirty="0" err="1"/>
              <a:t>consequatur</a:t>
            </a:r>
            <a:r>
              <a:rPr lang="en-US" dirty="0"/>
              <a:t>, vel </a:t>
            </a:r>
            <a:r>
              <a:rPr lang="en-US" dirty="0" err="1"/>
              <a:t>illum</a:t>
            </a:r>
            <a:r>
              <a:rPr lang="en-US" dirty="0"/>
              <a:t> qui </a:t>
            </a:r>
            <a:r>
              <a:rPr lang="en-US" dirty="0" err="1"/>
              <a:t>dolorem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quo </a:t>
            </a:r>
            <a:r>
              <a:rPr lang="en-US" dirty="0" err="1"/>
              <a:t>voluptas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?“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Tx/>
              <a:buFont typeface="Nexa Light" panose="02000000000000000000" pitchFamily="50" charset="0"/>
              <a:buNone/>
              <a:tabLst/>
              <a:defRPr/>
            </a:pPr>
            <a:r>
              <a:rPr lang="en-US" dirty="0"/>
              <a:t>"Lorem ipsum dolor sit amet, consectetur adipiscing elit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 </a:t>
            </a: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r>
              <a:rPr lang="en-US" dirty="0"/>
              <a:t> non </a:t>
            </a:r>
            <a:r>
              <a:rPr lang="en-US" dirty="0" err="1"/>
              <a:t>proident</a:t>
            </a:r>
            <a:r>
              <a:rPr lang="en-US" dirty="0"/>
              <a:t>, sunt in culpa qui </a:t>
            </a:r>
            <a:r>
              <a:rPr lang="en-US" dirty="0" err="1"/>
              <a:t>officia</a:t>
            </a:r>
            <a:r>
              <a:rPr lang="en-US" dirty="0"/>
              <a:t> </a:t>
            </a:r>
            <a:r>
              <a:rPr lang="en-US" dirty="0" err="1"/>
              <a:t>deserunt</a:t>
            </a:r>
            <a:r>
              <a:rPr lang="en-US" dirty="0"/>
              <a:t> </a:t>
            </a:r>
            <a:r>
              <a:rPr lang="en-US" dirty="0" err="1"/>
              <a:t>mollit</a:t>
            </a:r>
            <a:r>
              <a:rPr lang="en-US" dirty="0"/>
              <a:t> </a:t>
            </a:r>
            <a:r>
              <a:rPr lang="en-US" dirty="0" err="1"/>
              <a:t>anim</a:t>
            </a:r>
            <a:r>
              <a:rPr lang="en-US" dirty="0"/>
              <a:t> id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laborum</a:t>
            </a:r>
            <a:r>
              <a:rPr lang="en-US" dirty="0"/>
              <a:t>.“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Tx/>
              <a:buFont typeface="Nexa Light" panose="02000000000000000000" pitchFamily="50" charset="0"/>
              <a:buNone/>
              <a:tabLst/>
              <a:defRPr/>
            </a:pP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 </a:t>
            </a: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r>
              <a:rPr lang="en-US" dirty="0"/>
              <a:t> non </a:t>
            </a:r>
            <a:r>
              <a:rPr lang="en-US" dirty="0" err="1"/>
              <a:t>proident</a:t>
            </a:r>
            <a:r>
              <a:rPr lang="en-US" dirty="0"/>
              <a:t>, sunt in culpa qui </a:t>
            </a:r>
            <a:r>
              <a:rPr lang="en-US" dirty="0" err="1"/>
              <a:t>officia</a:t>
            </a:r>
            <a:r>
              <a:rPr lang="en-US" dirty="0"/>
              <a:t> </a:t>
            </a:r>
            <a:r>
              <a:rPr lang="en-US" dirty="0" err="1"/>
              <a:t>deserunt</a:t>
            </a:r>
            <a:r>
              <a:rPr lang="en-US" dirty="0"/>
              <a:t> </a:t>
            </a:r>
            <a:r>
              <a:rPr lang="en-US" dirty="0" err="1"/>
              <a:t>mollit</a:t>
            </a:r>
            <a:r>
              <a:rPr lang="en-US" dirty="0"/>
              <a:t> </a:t>
            </a:r>
            <a:r>
              <a:rPr lang="en-US" dirty="0" err="1"/>
              <a:t>anim</a:t>
            </a:r>
            <a:r>
              <a:rPr lang="en-US" dirty="0"/>
              <a:t> id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laborum</a:t>
            </a:r>
            <a:r>
              <a:rPr lang="en-US" dirty="0"/>
              <a:t>.“</a:t>
            </a:r>
          </a:p>
        </p:txBody>
      </p:sp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F1007C03-1B49-4195-87D9-C2D07D472557}"/>
              </a:ext>
            </a:extLst>
          </p:cNvPr>
          <p:cNvSpPr txBox="1">
            <a:spLocks/>
          </p:cNvSpPr>
          <p:nvPr/>
        </p:nvSpPr>
        <p:spPr>
          <a:xfrm>
            <a:off x="655314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05C0DED-35EE-462E-94F7-088C6BE6011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 b="4005"/>
          <a:stretch/>
        </p:blipFill>
        <p:spPr>
          <a:xfrm>
            <a:off x="1" y="6089129"/>
            <a:ext cx="3492938" cy="57517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CA09138-4794-41B2-8B94-A58BC40C75BF}"/>
              </a:ext>
            </a:extLst>
          </p:cNvPr>
          <p:cNvSpPr/>
          <p:nvPr/>
        </p:nvSpPr>
        <p:spPr>
          <a:xfrm>
            <a:off x="609001" y="6666650"/>
            <a:ext cx="337791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 sz="1801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24999FE-1E04-4B3D-A05B-5D4A136192CE}"/>
              </a:ext>
            </a:extLst>
          </p:cNvPr>
          <p:cNvSpPr txBox="1">
            <a:spLocks/>
          </p:cNvSpPr>
          <p:nvPr/>
        </p:nvSpPr>
        <p:spPr>
          <a:xfrm>
            <a:off x="655314" y="6681890"/>
            <a:ext cx="245700" cy="170006"/>
          </a:xfrm>
          <a:prstGeom prst="rect">
            <a:avLst/>
          </a:prstGeom>
        </p:spPr>
        <p:txBody>
          <a:bodyPr vert="horz" lIns="0" tIns="36000" rIns="0" bIns="3600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bg1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6F4544B-0D22-43A3-93EF-F88095C56C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E616E8FE-F2C0-40A6-8B57-4D9A3BF27C12}"/>
              </a:ext>
            </a:extLst>
          </p:cNvPr>
          <p:cNvSpPr txBox="1">
            <a:spLocks/>
          </p:cNvSpPr>
          <p:nvPr/>
        </p:nvSpPr>
        <p:spPr>
          <a:xfrm>
            <a:off x="655314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1C2F9B8-FA05-4A6E-82A0-2966E905CBF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 b="4005"/>
          <a:stretch/>
        </p:blipFill>
        <p:spPr>
          <a:xfrm>
            <a:off x="1" y="6089129"/>
            <a:ext cx="3492938" cy="57517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21E68F2E-4EFF-4D2D-B51E-415FE8FD39B3}"/>
              </a:ext>
            </a:extLst>
          </p:cNvPr>
          <p:cNvSpPr/>
          <p:nvPr/>
        </p:nvSpPr>
        <p:spPr>
          <a:xfrm>
            <a:off x="609001" y="6666650"/>
            <a:ext cx="337791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 sz="1801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C83C9F14-6328-4D77-8D82-29A0F9C7801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393588" y="1598065"/>
            <a:ext cx="5169762" cy="4505832"/>
          </a:xfrm>
        </p:spPr>
        <p:txBody>
          <a:bodyPr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Tx/>
              <a:buFont typeface="Nexa Light" panose="02000000000000000000" pitchFamily="50" charset="0"/>
              <a:buNone/>
              <a:tabLst/>
              <a:defRPr/>
            </a:lvl1pPr>
          </a:lstStyle>
          <a:p>
            <a:pPr lvl="0"/>
            <a:r>
              <a:rPr lang="en-US" dirty="0"/>
              <a:t>"Lorem ipsum dolor sit amet, consectetur adipiscing elit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 </a:t>
            </a: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r>
              <a:rPr lang="en-US" dirty="0"/>
              <a:t> non </a:t>
            </a:r>
            <a:r>
              <a:rPr lang="en-US" dirty="0" err="1"/>
              <a:t>proident</a:t>
            </a:r>
            <a:r>
              <a:rPr lang="en-US" dirty="0"/>
              <a:t>, sunt in culpa qui </a:t>
            </a:r>
            <a:r>
              <a:rPr lang="en-US" dirty="0" err="1"/>
              <a:t>officia</a:t>
            </a:r>
            <a:r>
              <a:rPr lang="en-US" dirty="0"/>
              <a:t> </a:t>
            </a:r>
            <a:r>
              <a:rPr lang="en-US" dirty="0" err="1"/>
              <a:t>deserunt</a:t>
            </a:r>
            <a:r>
              <a:rPr lang="en-US" dirty="0"/>
              <a:t> </a:t>
            </a:r>
            <a:r>
              <a:rPr lang="en-US" dirty="0" err="1"/>
              <a:t>mollit</a:t>
            </a:r>
            <a:r>
              <a:rPr lang="en-US" dirty="0"/>
              <a:t> </a:t>
            </a:r>
            <a:r>
              <a:rPr lang="en-US" dirty="0" err="1"/>
              <a:t>anim</a:t>
            </a:r>
            <a:r>
              <a:rPr lang="en-US" dirty="0"/>
              <a:t> id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laborum</a:t>
            </a:r>
            <a:r>
              <a:rPr lang="en-US" dirty="0"/>
              <a:t>.“</a:t>
            </a:r>
          </a:p>
          <a:p>
            <a:pPr lvl="0"/>
            <a:r>
              <a:rPr lang="en-US" dirty="0"/>
              <a:t>"Sed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perspiciatis</a:t>
            </a:r>
            <a:r>
              <a:rPr lang="en-US" dirty="0"/>
              <a:t> </a:t>
            </a:r>
            <a:r>
              <a:rPr lang="en-US" dirty="0" err="1"/>
              <a:t>unde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</a:t>
            </a:r>
            <a:r>
              <a:rPr lang="en-US" dirty="0" err="1"/>
              <a:t>iste</a:t>
            </a:r>
            <a:r>
              <a:rPr lang="en-US" dirty="0"/>
              <a:t> </a:t>
            </a:r>
            <a:r>
              <a:rPr lang="en-US" dirty="0" err="1"/>
              <a:t>natus</a:t>
            </a:r>
            <a:r>
              <a:rPr lang="en-US" dirty="0"/>
              <a:t> error sit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accusantium</a:t>
            </a:r>
            <a:r>
              <a:rPr lang="en-US" dirty="0"/>
              <a:t> </a:t>
            </a:r>
            <a:r>
              <a:rPr lang="en-US" dirty="0" err="1"/>
              <a:t>doloremque</a:t>
            </a:r>
            <a:r>
              <a:rPr lang="en-US" dirty="0"/>
              <a:t> </a:t>
            </a:r>
            <a:r>
              <a:rPr lang="en-US" dirty="0" err="1"/>
              <a:t>laudantium</a:t>
            </a:r>
            <a:r>
              <a:rPr lang="en-US" dirty="0"/>
              <a:t>, </a:t>
            </a:r>
            <a:r>
              <a:rPr lang="en-US" dirty="0" err="1"/>
              <a:t>totam</a:t>
            </a:r>
            <a:r>
              <a:rPr lang="en-US" dirty="0"/>
              <a:t> rem </a:t>
            </a:r>
            <a:r>
              <a:rPr lang="en-US" dirty="0" err="1"/>
              <a:t>aperiam</a:t>
            </a:r>
            <a:r>
              <a:rPr lang="en-US" dirty="0"/>
              <a:t>, </a:t>
            </a:r>
            <a:r>
              <a:rPr lang="en-US" dirty="0" err="1"/>
              <a:t>eaque</a:t>
            </a:r>
            <a:r>
              <a:rPr lang="en-US" dirty="0"/>
              <a:t> </a:t>
            </a:r>
            <a:r>
              <a:rPr lang="en-US" dirty="0" err="1"/>
              <a:t>ipsa</a:t>
            </a:r>
            <a:r>
              <a:rPr lang="en-US" dirty="0"/>
              <a:t> </a:t>
            </a:r>
            <a:r>
              <a:rPr lang="en-US" dirty="0" err="1"/>
              <a:t>quae</a:t>
            </a:r>
            <a:r>
              <a:rPr lang="en-US" dirty="0"/>
              <a:t> ab </a:t>
            </a:r>
            <a:r>
              <a:rPr lang="en-US" dirty="0" err="1"/>
              <a:t>illo</a:t>
            </a:r>
            <a:r>
              <a:rPr lang="en-US" dirty="0"/>
              <a:t> </a:t>
            </a:r>
            <a:r>
              <a:rPr lang="en-US" dirty="0" err="1"/>
              <a:t>inventore</a:t>
            </a:r>
            <a:r>
              <a:rPr lang="en-US" dirty="0"/>
              <a:t> </a:t>
            </a:r>
            <a:r>
              <a:rPr lang="en-US" dirty="0" err="1"/>
              <a:t>veritatis</a:t>
            </a:r>
            <a:r>
              <a:rPr lang="en-US" dirty="0"/>
              <a:t> et quasi </a:t>
            </a:r>
            <a:r>
              <a:rPr lang="en-US" dirty="0" err="1"/>
              <a:t>architecto</a:t>
            </a:r>
            <a:r>
              <a:rPr lang="en-US" dirty="0"/>
              <a:t> </a:t>
            </a:r>
            <a:r>
              <a:rPr lang="en-US" dirty="0" err="1"/>
              <a:t>beatae</a:t>
            </a:r>
            <a:r>
              <a:rPr lang="en-US" dirty="0"/>
              <a:t> vitae dicta sunt </a:t>
            </a:r>
            <a:r>
              <a:rPr lang="en-US" dirty="0" err="1"/>
              <a:t>explicabo</a:t>
            </a:r>
            <a:r>
              <a:rPr lang="en-US" dirty="0"/>
              <a:t>. Nemo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ipsam</a:t>
            </a:r>
            <a:r>
              <a:rPr lang="en-US" dirty="0"/>
              <a:t> </a:t>
            </a:r>
            <a:r>
              <a:rPr lang="en-US" dirty="0" err="1"/>
              <a:t>voluptatem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voluptas</a:t>
            </a:r>
            <a:r>
              <a:rPr lang="en-US" dirty="0"/>
              <a:t> sit </a:t>
            </a:r>
            <a:r>
              <a:rPr lang="en-US" dirty="0" err="1"/>
              <a:t>aspernatur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odi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fugit, sed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consequuntur</a:t>
            </a:r>
            <a:r>
              <a:rPr lang="en-US" dirty="0"/>
              <a:t> </a:t>
            </a:r>
            <a:r>
              <a:rPr lang="en-US" dirty="0" err="1"/>
              <a:t>magni</a:t>
            </a:r>
            <a:endParaRPr lang="en-US" dirty="0"/>
          </a:p>
          <a:p>
            <a:pPr lvl="0"/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 </a:t>
            </a: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r>
              <a:rPr lang="en-US" dirty="0"/>
              <a:t> non </a:t>
            </a:r>
            <a:r>
              <a:rPr lang="en-US" dirty="0" err="1"/>
              <a:t>proident</a:t>
            </a:r>
            <a:r>
              <a:rPr lang="en-US" dirty="0"/>
              <a:t>, sunt in culpa qui </a:t>
            </a:r>
            <a:r>
              <a:rPr lang="en-US" dirty="0" err="1"/>
              <a:t>officia</a:t>
            </a:r>
            <a:r>
              <a:rPr lang="en-US" dirty="0"/>
              <a:t> </a:t>
            </a:r>
            <a:r>
              <a:rPr lang="en-US" dirty="0" err="1"/>
              <a:t>deserunt</a:t>
            </a:r>
            <a:r>
              <a:rPr lang="en-US" dirty="0"/>
              <a:t> </a:t>
            </a:r>
            <a:r>
              <a:rPr lang="en-US" dirty="0" err="1"/>
              <a:t>mollit</a:t>
            </a:r>
            <a:r>
              <a:rPr lang="en-US" dirty="0"/>
              <a:t> </a:t>
            </a:r>
            <a:r>
              <a:rPr lang="en-US" dirty="0" err="1"/>
              <a:t>anim</a:t>
            </a:r>
            <a:r>
              <a:rPr lang="en-US" dirty="0"/>
              <a:t> id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laborum</a:t>
            </a:r>
            <a:r>
              <a:rPr lang="en-US" dirty="0"/>
              <a:t>.“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C132EE70-0572-40E4-A290-ACEF6A59C7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FE38F3BE-1073-46A9-93BE-10F2D5342F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00941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137E3-3D99-41B2-95D7-30814A2169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768E81-5D27-4AC4-9547-762879BE03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9850" y="3428999"/>
            <a:ext cx="3164099" cy="272734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A5F4FD7A-EA9F-4552-B3F6-30AC397A71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821E9E9-FC1A-4B4C-B58D-8D6B71B99AE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13950" y="3428999"/>
            <a:ext cx="3164099" cy="272734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2E066841-377F-4E7E-9967-311FF4F3122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404261" y="3428999"/>
            <a:ext cx="3164099" cy="272734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18">
            <a:extLst>
              <a:ext uri="{FF2B5EF4-FFF2-40B4-BE49-F238E27FC236}">
                <a16:creationId xmlns:a16="http://schemas.microsoft.com/office/drawing/2014/main" id="{6E6B21D5-6327-42AE-B779-8BFB48752B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640" y="2794452"/>
            <a:ext cx="3164099" cy="452856"/>
          </a:xfrm>
        </p:spPr>
        <p:txBody>
          <a:bodyPr>
            <a:normAutofit/>
          </a:bodyPr>
          <a:lstStyle>
            <a:lvl1pPr marL="0" indent="0">
              <a:buNone/>
              <a:defRPr lang="en-US" sz="1400" kern="1200" dirty="0" smtClean="0">
                <a:solidFill>
                  <a:srgbClr val="D82435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134A70D3-B164-4624-9FDB-771BE13F64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13950" y="2794452"/>
            <a:ext cx="3164099" cy="452856"/>
          </a:xfrm>
        </p:spPr>
        <p:txBody>
          <a:bodyPr>
            <a:normAutofit/>
          </a:bodyPr>
          <a:lstStyle>
            <a:lvl1pPr marL="0" indent="0">
              <a:buNone/>
              <a:defRPr lang="en-US" sz="1400" kern="1200" dirty="0" smtClean="0">
                <a:solidFill>
                  <a:srgbClr val="D82435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2268C08B-A65C-43CD-8860-8E985542F6D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99251" y="2794452"/>
            <a:ext cx="3164099" cy="452856"/>
          </a:xfrm>
        </p:spPr>
        <p:txBody>
          <a:bodyPr>
            <a:normAutofit/>
          </a:bodyPr>
          <a:lstStyle>
            <a:lvl1pPr marL="0" indent="0">
              <a:buNone/>
              <a:defRPr lang="en-US" sz="1400" kern="1200" dirty="0" smtClean="0">
                <a:solidFill>
                  <a:srgbClr val="D82435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2035AEC4-1A15-4447-8ED0-8393792BD1C3}"/>
              </a:ext>
            </a:extLst>
          </p:cNvPr>
          <p:cNvGrpSpPr/>
          <p:nvPr/>
        </p:nvGrpSpPr>
        <p:grpSpPr>
          <a:xfrm>
            <a:off x="1780197" y="1584200"/>
            <a:ext cx="850984" cy="862669"/>
            <a:chOff x="16150298" y="1825625"/>
            <a:chExt cx="1373702" cy="1392564"/>
          </a:xfrm>
        </p:grpSpPr>
        <p:sp>
          <p:nvSpPr>
            <p:cNvPr id="42" name="Rounded Rectangle 53">
              <a:extLst>
                <a:ext uri="{FF2B5EF4-FFF2-40B4-BE49-F238E27FC236}">
                  <a16:creationId xmlns:a16="http://schemas.microsoft.com/office/drawing/2014/main" id="{07322244-8CEE-4B1E-8F9C-7A5A7A114700}"/>
                </a:ext>
              </a:extLst>
            </p:cNvPr>
            <p:cNvSpPr/>
            <p:nvPr/>
          </p:nvSpPr>
          <p:spPr>
            <a:xfrm rot="2700000">
              <a:off x="16346364" y="2040553"/>
              <a:ext cx="1177636" cy="1177636"/>
            </a:xfrm>
            <a:prstGeom prst="roundRect">
              <a:avLst>
                <a:gd name="adj" fmla="val 9804"/>
              </a:avLst>
            </a:prstGeom>
            <a:gradFill>
              <a:gsLst>
                <a:gs pos="25000">
                  <a:srgbClr val="D82435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 dirty="0"/>
            </a:p>
          </p:txBody>
        </p:sp>
        <p:sp>
          <p:nvSpPr>
            <p:cNvPr id="43" name="Freeform 54">
              <a:extLst>
                <a:ext uri="{FF2B5EF4-FFF2-40B4-BE49-F238E27FC236}">
                  <a16:creationId xmlns:a16="http://schemas.microsoft.com/office/drawing/2014/main" id="{30E9EBE1-DB77-43D5-971D-492D576FAAED}"/>
                </a:ext>
              </a:extLst>
            </p:cNvPr>
            <p:cNvSpPr/>
            <p:nvPr/>
          </p:nvSpPr>
          <p:spPr>
            <a:xfrm>
              <a:off x="16150298" y="1825625"/>
              <a:ext cx="1263455" cy="1154994"/>
            </a:xfrm>
            <a:custGeom>
              <a:avLst/>
              <a:gdLst>
                <a:gd name="connsiteX0" fmla="*/ 784891 w 1263455"/>
                <a:gd name="connsiteY0" fmla="*/ 0 h 1154994"/>
                <a:gd name="connsiteX1" fmla="*/ 866530 w 1263455"/>
                <a:gd name="connsiteY1" fmla="*/ 33816 h 1154994"/>
                <a:gd name="connsiteX2" fmla="*/ 1263455 w 1263455"/>
                <a:gd name="connsiteY2" fmla="*/ 430740 h 1154994"/>
                <a:gd name="connsiteX3" fmla="*/ 1255671 w 1263455"/>
                <a:gd name="connsiteY3" fmla="*/ 458346 h 1154994"/>
                <a:gd name="connsiteX4" fmla="*/ 430298 w 1263455"/>
                <a:gd name="connsiteY4" fmla="*/ 1139960 h 1154994"/>
                <a:gd name="connsiteX5" fmla="*/ 322280 w 1263455"/>
                <a:gd name="connsiteY5" fmla="*/ 1154994 h 1154994"/>
                <a:gd name="connsiteX6" fmla="*/ 33816 w 1263455"/>
                <a:gd name="connsiteY6" fmla="*/ 866530 h 1154994"/>
                <a:gd name="connsiteX7" fmla="*/ 33816 w 1263455"/>
                <a:gd name="connsiteY7" fmla="*/ 703252 h 1154994"/>
                <a:gd name="connsiteX8" fmla="*/ 703252 w 1263455"/>
                <a:gd name="connsiteY8" fmla="*/ 33816 h 1154994"/>
                <a:gd name="connsiteX9" fmla="*/ 784891 w 1263455"/>
                <a:gd name="connsiteY9" fmla="*/ 0 h 115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3455" h="1154994">
                  <a:moveTo>
                    <a:pt x="784891" y="0"/>
                  </a:moveTo>
                  <a:cubicBezTo>
                    <a:pt x="814439" y="0"/>
                    <a:pt x="843986" y="11272"/>
                    <a:pt x="866530" y="33816"/>
                  </a:cubicBezTo>
                  <a:lnTo>
                    <a:pt x="1263455" y="430740"/>
                  </a:lnTo>
                  <a:lnTo>
                    <a:pt x="1255671" y="458346"/>
                  </a:lnTo>
                  <a:cubicBezTo>
                    <a:pt x="1138321" y="802435"/>
                    <a:pt x="822483" y="1066770"/>
                    <a:pt x="430298" y="1139960"/>
                  </a:cubicBezTo>
                  <a:lnTo>
                    <a:pt x="322280" y="1154994"/>
                  </a:lnTo>
                  <a:lnTo>
                    <a:pt x="33816" y="866530"/>
                  </a:lnTo>
                  <a:cubicBezTo>
                    <a:pt x="-11272" y="821442"/>
                    <a:pt x="-11272" y="748340"/>
                    <a:pt x="33816" y="703252"/>
                  </a:cubicBezTo>
                  <a:lnTo>
                    <a:pt x="703252" y="33816"/>
                  </a:lnTo>
                  <a:cubicBezTo>
                    <a:pt x="725796" y="11272"/>
                    <a:pt x="755344" y="0"/>
                    <a:pt x="784891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689FB85F-C684-4729-A907-23159F823A9D}"/>
              </a:ext>
            </a:extLst>
          </p:cNvPr>
          <p:cNvGrpSpPr/>
          <p:nvPr/>
        </p:nvGrpSpPr>
        <p:grpSpPr>
          <a:xfrm>
            <a:off x="5667658" y="1584200"/>
            <a:ext cx="850984" cy="862669"/>
            <a:chOff x="16150298" y="1825625"/>
            <a:chExt cx="1373702" cy="1392564"/>
          </a:xfrm>
        </p:grpSpPr>
        <p:sp>
          <p:nvSpPr>
            <p:cNvPr id="58" name="Rounded Rectangle 53">
              <a:extLst>
                <a:ext uri="{FF2B5EF4-FFF2-40B4-BE49-F238E27FC236}">
                  <a16:creationId xmlns:a16="http://schemas.microsoft.com/office/drawing/2014/main" id="{52CBBC70-01D5-4336-B6CE-A90CEFF47CA7}"/>
                </a:ext>
              </a:extLst>
            </p:cNvPr>
            <p:cNvSpPr/>
            <p:nvPr/>
          </p:nvSpPr>
          <p:spPr>
            <a:xfrm rot="2700000">
              <a:off x="16346364" y="2040553"/>
              <a:ext cx="1177636" cy="1177636"/>
            </a:xfrm>
            <a:prstGeom prst="roundRect">
              <a:avLst>
                <a:gd name="adj" fmla="val 9804"/>
              </a:avLst>
            </a:prstGeom>
            <a:gradFill>
              <a:gsLst>
                <a:gs pos="25000">
                  <a:srgbClr val="D82435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 dirty="0"/>
            </a:p>
          </p:txBody>
        </p:sp>
        <p:sp>
          <p:nvSpPr>
            <p:cNvPr id="59" name="Freeform 54">
              <a:extLst>
                <a:ext uri="{FF2B5EF4-FFF2-40B4-BE49-F238E27FC236}">
                  <a16:creationId xmlns:a16="http://schemas.microsoft.com/office/drawing/2014/main" id="{E26FD267-1B36-4901-B67C-976BDF3C638E}"/>
                </a:ext>
              </a:extLst>
            </p:cNvPr>
            <p:cNvSpPr/>
            <p:nvPr/>
          </p:nvSpPr>
          <p:spPr>
            <a:xfrm>
              <a:off x="16150298" y="1825625"/>
              <a:ext cx="1263455" cy="1154994"/>
            </a:xfrm>
            <a:custGeom>
              <a:avLst/>
              <a:gdLst>
                <a:gd name="connsiteX0" fmla="*/ 784891 w 1263455"/>
                <a:gd name="connsiteY0" fmla="*/ 0 h 1154994"/>
                <a:gd name="connsiteX1" fmla="*/ 866530 w 1263455"/>
                <a:gd name="connsiteY1" fmla="*/ 33816 h 1154994"/>
                <a:gd name="connsiteX2" fmla="*/ 1263455 w 1263455"/>
                <a:gd name="connsiteY2" fmla="*/ 430740 h 1154994"/>
                <a:gd name="connsiteX3" fmla="*/ 1255671 w 1263455"/>
                <a:gd name="connsiteY3" fmla="*/ 458346 h 1154994"/>
                <a:gd name="connsiteX4" fmla="*/ 430298 w 1263455"/>
                <a:gd name="connsiteY4" fmla="*/ 1139960 h 1154994"/>
                <a:gd name="connsiteX5" fmla="*/ 322280 w 1263455"/>
                <a:gd name="connsiteY5" fmla="*/ 1154994 h 1154994"/>
                <a:gd name="connsiteX6" fmla="*/ 33816 w 1263455"/>
                <a:gd name="connsiteY6" fmla="*/ 866530 h 1154994"/>
                <a:gd name="connsiteX7" fmla="*/ 33816 w 1263455"/>
                <a:gd name="connsiteY7" fmla="*/ 703252 h 1154994"/>
                <a:gd name="connsiteX8" fmla="*/ 703252 w 1263455"/>
                <a:gd name="connsiteY8" fmla="*/ 33816 h 1154994"/>
                <a:gd name="connsiteX9" fmla="*/ 784891 w 1263455"/>
                <a:gd name="connsiteY9" fmla="*/ 0 h 115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3455" h="1154994">
                  <a:moveTo>
                    <a:pt x="784891" y="0"/>
                  </a:moveTo>
                  <a:cubicBezTo>
                    <a:pt x="814439" y="0"/>
                    <a:pt x="843986" y="11272"/>
                    <a:pt x="866530" y="33816"/>
                  </a:cubicBezTo>
                  <a:lnTo>
                    <a:pt x="1263455" y="430740"/>
                  </a:lnTo>
                  <a:lnTo>
                    <a:pt x="1255671" y="458346"/>
                  </a:lnTo>
                  <a:cubicBezTo>
                    <a:pt x="1138321" y="802435"/>
                    <a:pt x="822483" y="1066770"/>
                    <a:pt x="430298" y="1139960"/>
                  </a:cubicBezTo>
                  <a:lnTo>
                    <a:pt x="322280" y="1154994"/>
                  </a:lnTo>
                  <a:lnTo>
                    <a:pt x="33816" y="866530"/>
                  </a:lnTo>
                  <a:cubicBezTo>
                    <a:pt x="-11272" y="821442"/>
                    <a:pt x="-11272" y="748340"/>
                    <a:pt x="33816" y="703252"/>
                  </a:cubicBezTo>
                  <a:lnTo>
                    <a:pt x="703252" y="33816"/>
                  </a:lnTo>
                  <a:cubicBezTo>
                    <a:pt x="725796" y="11272"/>
                    <a:pt x="755344" y="0"/>
                    <a:pt x="784891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04429F9-D8DD-444C-87C1-251D3813E062}"/>
              </a:ext>
            </a:extLst>
          </p:cNvPr>
          <p:cNvGrpSpPr/>
          <p:nvPr/>
        </p:nvGrpSpPr>
        <p:grpSpPr>
          <a:xfrm>
            <a:off x="9399519" y="1584200"/>
            <a:ext cx="850984" cy="862669"/>
            <a:chOff x="16150298" y="1825625"/>
            <a:chExt cx="1373702" cy="1392564"/>
          </a:xfrm>
        </p:grpSpPr>
        <p:sp>
          <p:nvSpPr>
            <p:cNvPr id="63" name="Rounded Rectangle 53">
              <a:extLst>
                <a:ext uri="{FF2B5EF4-FFF2-40B4-BE49-F238E27FC236}">
                  <a16:creationId xmlns:a16="http://schemas.microsoft.com/office/drawing/2014/main" id="{D7C8FA2F-44BF-465A-BEEA-1953428AF209}"/>
                </a:ext>
              </a:extLst>
            </p:cNvPr>
            <p:cNvSpPr/>
            <p:nvPr/>
          </p:nvSpPr>
          <p:spPr>
            <a:xfrm rot="2700000">
              <a:off x="16346364" y="2040553"/>
              <a:ext cx="1177636" cy="1177636"/>
            </a:xfrm>
            <a:prstGeom prst="roundRect">
              <a:avLst>
                <a:gd name="adj" fmla="val 9804"/>
              </a:avLst>
            </a:prstGeom>
            <a:gradFill>
              <a:gsLst>
                <a:gs pos="25000">
                  <a:srgbClr val="D82435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 dirty="0"/>
            </a:p>
          </p:txBody>
        </p:sp>
        <p:sp>
          <p:nvSpPr>
            <p:cNvPr id="64" name="Freeform 54">
              <a:extLst>
                <a:ext uri="{FF2B5EF4-FFF2-40B4-BE49-F238E27FC236}">
                  <a16:creationId xmlns:a16="http://schemas.microsoft.com/office/drawing/2014/main" id="{8AB6CC8F-F38E-4DF4-AE28-7417B1170EA7}"/>
                </a:ext>
              </a:extLst>
            </p:cNvPr>
            <p:cNvSpPr/>
            <p:nvPr/>
          </p:nvSpPr>
          <p:spPr>
            <a:xfrm>
              <a:off x="16150298" y="1825625"/>
              <a:ext cx="1263455" cy="1154994"/>
            </a:xfrm>
            <a:custGeom>
              <a:avLst/>
              <a:gdLst>
                <a:gd name="connsiteX0" fmla="*/ 784891 w 1263455"/>
                <a:gd name="connsiteY0" fmla="*/ 0 h 1154994"/>
                <a:gd name="connsiteX1" fmla="*/ 866530 w 1263455"/>
                <a:gd name="connsiteY1" fmla="*/ 33816 h 1154994"/>
                <a:gd name="connsiteX2" fmla="*/ 1263455 w 1263455"/>
                <a:gd name="connsiteY2" fmla="*/ 430740 h 1154994"/>
                <a:gd name="connsiteX3" fmla="*/ 1255671 w 1263455"/>
                <a:gd name="connsiteY3" fmla="*/ 458346 h 1154994"/>
                <a:gd name="connsiteX4" fmla="*/ 430298 w 1263455"/>
                <a:gd name="connsiteY4" fmla="*/ 1139960 h 1154994"/>
                <a:gd name="connsiteX5" fmla="*/ 322280 w 1263455"/>
                <a:gd name="connsiteY5" fmla="*/ 1154994 h 1154994"/>
                <a:gd name="connsiteX6" fmla="*/ 33816 w 1263455"/>
                <a:gd name="connsiteY6" fmla="*/ 866530 h 1154994"/>
                <a:gd name="connsiteX7" fmla="*/ 33816 w 1263455"/>
                <a:gd name="connsiteY7" fmla="*/ 703252 h 1154994"/>
                <a:gd name="connsiteX8" fmla="*/ 703252 w 1263455"/>
                <a:gd name="connsiteY8" fmla="*/ 33816 h 1154994"/>
                <a:gd name="connsiteX9" fmla="*/ 784891 w 1263455"/>
                <a:gd name="connsiteY9" fmla="*/ 0 h 115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3455" h="1154994">
                  <a:moveTo>
                    <a:pt x="784891" y="0"/>
                  </a:moveTo>
                  <a:cubicBezTo>
                    <a:pt x="814439" y="0"/>
                    <a:pt x="843986" y="11272"/>
                    <a:pt x="866530" y="33816"/>
                  </a:cubicBezTo>
                  <a:lnTo>
                    <a:pt x="1263455" y="430740"/>
                  </a:lnTo>
                  <a:lnTo>
                    <a:pt x="1255671" y="458346"/>
                  </a:lnTo>
                  <a:cubicBezTo>
                    <a:pt x="1138321" y="802435"/>
                    <a:pt x="822483" y="1066770"/>
                    <a:pt x="430298" y="1139960"/>
                  </a:cubicBezTo>
                  <a:lnTo>
                    <a:pt x="322280" y="1154994"/>
                  </a:lnTo>
                  <a:lnTo>
                    <a:pt x="33816" y="866530"/>
                  </a:lnTo>
                  <a:cubicBezTo>
                    <a:pt x="-11272" y="821442"/>
                    <a:pt x="-11272" y="748340"/>
                    <a:pt x="33816" y="703252"/>
                  </a:cubicBezTo>
                  <a:lnTo>
                    <a:pt x="703252" y="33816"/>
                  </a:lnTo>
                  <a:cubicBezTo>
                    <a:pt x="725796" y="11272"/>
                    <a:pt x="755344" y="0"/>
                    <a:pt x="784891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C0390695-5B47-4927-81D3-755FA766F131}"/>
              </a:ext>
            </a:extLst>
          </p:cNvPr>
          <p:cNvSpPr txBox="1"/>
          <p:nvPr/>
        </p:nvSpPr>
        <p:spPr>
          <a:xfrm>
            <a:off x="2053058" y="1950866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FFFF"/>
                </a:solidFill>
              </a:rPr>
              <a:t>Icon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ADCBA33-44FE-4671-AAE9-5263D2C028C1}"/>
              </a:ext>
            </a:extLst>
          </p:cNvPr>
          <p:cNvSpPr txBox="1"/>
          <p:nvPr/>
        </p:nvSpPr>
        <p:spPr>
          <a:xfrm>
            <a:off x="5940519" y="1950866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FFFF"/>
                </a:solidFill>
              </a:rPr>
              <a:t>Icon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A6C3E56-DE7A-407B-9967-BE3D2EDD9BD9}"/>
              </a:ext>
            </a:extLst>
          </p:cNvPr>
          <p:cNvSpPr txBox="1"/>
          <p:nvPr/>
        </p:nvSpPr>
        <p:spPr>
          <a:xfrm>
            <a:off x="9668704" y="1950866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FFFF"/>
                </a:solidFill>
              </a:rPr>
              <a:t>Icon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FCE8CF4-1651-4DA9-A7F2-32E7B3EDFE49}"/>
              </a:ext>
            </a:extLst>
          </p:cNvPr>
          <p:cNvGrpSpPr/>
          <p:nvPr/>
        </p:nvGrpSpPr>
        <p:grpSpPr>
          <a:xfrm>
            <a:off x="1780197" y="1584200"/>
            <a:ext cx="850984" cy="862669"/>
            <a:chOff x="16150298" y="1825625"/>
            <a:chExt cx="1373702" cy="1392564"/>
          </a:xfrm>
        </p:grpSpPr>
        <p:sp>
          <p:nvSpPr>
            <p:cNvPr id="25" name="Rounded Rectangle 53">
              <a:extLst>
                <a:ext uri="{FF2B5EF4-FFF2-40B4-BE49-F238E27FC236}">
                  <a16:creationId xmlns:a16="http://schemas.microsoft.com/office/drawing/2014/main" id="{CB81160A-A51C-4FD0-B287-3A9618B1EAE8}"/>
                </a:ext>
              </a:extLst>
            </p:cNvPr>
            <p:cNvSpPr/>
            <p:nvPr/>
          </p:nvSpPr>
          <p:spPr>
            <a:xfrm rot="2700000">
              <a:off x="16346364" y="2040553"/>
              <a:ext cx="1177636" cy="1177636"/>
            </a:xfrm>
            <a:prstGeom prst="roundRect">
              <a:avLst>
                <a:gd name="adj" fmla="val 9804"/>
              </a:avLst>
            </a:prstGeom>
            <a:gradFill>
              <a:gsLst>
                <a:gs pos="25000">
                  <a:srgbClr val="D82435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 dirty="0"/>
            </a:p>
          </p:txBody>
        </p:sp>
        <p:sp>
          <p:nvSpPr>
            <p:cNvPr id="26" name="Freeform 54">
              <a:extLst>
                <a:ext uri="{FF2B5EF4-FFF2-40B4-BE49-F238E27FC236}">
                  <a16:creationId xmlns:a16="http://schemas.microsoft.com/office/drawing/2014/main" id="{4B89D80E-DD22-44CF-AC53-E28A8C10CBAC}"/>
                </a:ext>
              </a:extLst>
            </p:cNvPr>
            <p:cNvSpPr/>
            <p:nvPr/>
          </p:nvSpPr>
          <p:spPr>
            <a:xfrm>
              <a:off x="16150298" y="1825625"/>
              <a:ext cx="1263455" cy="1154994"/>
            </a:xfrm>
            <a:custGeom>
              <a:avLst/>
              <a:gdLst>
                <a:gd name="connsiteX0" fmla="*/ 784891 w 1263455"/>
                <a:gd name="connsiteY0" fmla="*/ 0 h 1154994"/>
                <a:gd name="connsiteX1" fmla="*/ 866530 w 1263455"/>
                <a:gd name="connsiteY1" fmla="*/ 33816 h 1154994"/>
                <a:gd name="connsiteX2" fmla="*/ 1263455 w 1263455"/>
                <a:gd name="connsiteY2" fmla="*/ 430740 h 1154994"/>
                <a:gd name="connsiteX3" fmla="*/ 1255671 w 1263455"/>
                <a:gd name="connsiteY3" fmla="*/ 458346 h 1154994"/>
                <a:gd name="connsiteX4" fmla="*/ 430298 w 1263455"/>
                <a:gd name="connsiteY4" fmla="*/ 1139960 h 1154994"/>
                <a:gd name="connsiteX5" fmla="*/ 322280 w 1263455"/>
                <a:gd name="connsiteY5" fmla="*/ 1154994 h 1154994"/>
                <a:gd name="connsiteX6" fmla="*/ 33816 w 1263455"/>
                <a:gd name="connsiteY6" fmla="*/ 866530 h 1154994"/>
                <a:gd name="connsiteX7" fmla="*/ 33816 w 1263455"/>
                <a:gd name="connsiteY7" fmla="*/ 703252 h 1154994"/>
                <a:gd name="connsiteX8" fmla="*/ 703252 w 1263455"/>
                <a:gd name="connsiteY8" fmla="*/ 33816 h 1154994"/>
                <a:gd name="connsiteX9" fmla="*/ 784891 w 1263455"/>
                <a:gd name="connsiteY9" fmla="*/ 0 h 115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3455" h="1154994">
                  <a:moveTo>
                    <a:pt x="784891" y="0"/>
                  </a:moveTo>
                  <a:cubicBezTo>
                    <a:pt x="814439" y="0"/>
                    <a:pt x="843986" y="11272"/>
                    <a:pt x="866530" y="33816"/>
                  </a:cubicBezTo>
                  <a:lnTo>
                    <a:pt x="1263455" y="430740"/>
                  </a:lnTo>
                  <a:lnTo>
                    <a:pt x="1255671" y="458346"/>
                  </a:lnTo>
                  <a:cubicBezTo>
                    <a:pt x="1138321" y="802435"/>
                    <a:pt x="822483" y="1066770"/>
                    <a:pt x="430298" y="1139960"/>
                  </a:cubicBezTo>
                  <a:lnTo>
                    <a:pt x="322280" y="1154994"/>
                  </a:lnTo>
                  <a:lnTo>
                    <a:pt x="33816" y="866530"/>
                  </a:lnTo>
                  <a:cubicBezTo>
                    <a:pt x="-11272" y="821442"/>
                    <a:pt x="-11272" y="748340"/>
                    <a:pt x="33816" y="703252"/>
                  </a:cubicBezTo>
                  <a:lnTo>
                    <a:pt x="703252" y="33816"/>
                  </a:lnTo>
                  <a:cubicBezTo>
                    <a:pt x="725796" y="11272"/>
                    <a:pt x="755344" y="0"/>
                    <a:pt x="784891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BB603FB-80A9-43AE-B842-123502389E45}"/>
              </a:ext>
            </a:extLst>
          </p:cNvPr>
          <p:cNvGrpSpPr/>
          <p:nvPr/>
        </p:nvGrpSpPr>
        <p:grpSpPr>
          <a:xfrm>
            <a:off x="5667658" y="1584200"/>
            <a:ext cx="850984" cy="862669"/>
            <a:chOff x="16150298" y="1825625"/>
            <a:chExt cx="1373702" cy="1392564"/>
          </a:xfrm>
        </p:grpSpPr>
        <p:sp>
          <p:nvSpPr>
            <p:cNvPr id="28" name="Rounded Rectangle 53">
              <a:extLst>
                <a:ext uri="{FF2B5EF4-FFF2-40B4-BE49-F238E27FC236}">
                  <a16:creationId xmlns:a16="http://schemas.microsoft.com/office/drawing/2014/main" id="{C26C62C4-B1A9-4279-B01A-688312BBCAC1}"/>
                </a:ext>
              </a:extLst>
            </p:cNvPr>
            <p:cNvSpPr/>
            <p:nvPr/>
          </p:nvSpPr>
          <p:spPr>
            <a:xfrm rot="2700000">
              <a:off x="16346364" y="2040553"/>
              <a:ext cx="1177636" cy="1177636"/>
            </a:xfrm>
            <a:prstGeom prst="roundRect">
              <a:avLst>
                <a:gd name="adj" fmla="val 9804"/>
              </a:avLst>
            </a:prstGeom>
            <a:gradFill>
              <a:gsLst>
                <a:gs pos="25000">
                  <a:srgbClr val="D82435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 dirty="0"/>
            </a:p>
          </p:txBody>
        </p:sp>
        <p:sp>
          <p:nvSpPr>
            <p:cNvPr id="29" name="Freeform 54">
              <a:extLst>
                <a:ext uri="{FF2B5EF4-FFF2-40B4-BE49-F238E27FC236}">
                  <a16:creationId xmlns:a16="http://schemas.microsoft.com/office/drawing/2014/main" id="{58DE07B4-80F0-4FAD-86CC-A907822D7473}"/>
                </a:ext>
              </a:extLst>
            </p:cNvPr>
            <p:cNvSpPr/>
            <p:nvPr/>
          </p:nvSpPr>
          <p:spPr>
            <a:xfrm>
              <a:off x="16150298" y="1825625"/>
              <a:ext cx="1263455" cy="1154994"/>
            </a:xfrm>
            <a:custGeom>
              <a:avLst/>
              <a:gdLst>
                <a:gd name="connsiteX0" fmla="*/ 784891 w 1263455"/>
                <a:gd name="connsiteY0" fmla="*/ 0 h 1154994"/>
                <a:gd name="connsiteX1" fmla="*/ 866530 w 1263455"/>
                <a:gd name="connsiteY1" fmla="*/ 33816 h 1154994"/>
                <a:gd name="connsiteX2" fmla="*/ 1263455 w 1263455"/>
                <a:gd name="connsiteY2" fmla="*/ 430740 h 1154994"/>
                <a:gd name="connsiteX3" fmla="*/ 1255671 w 1263455"/>
                <a:gd name="connsiteY3" fmla="*/ 458346 h 1154994"/>
                <a:gd name="connsiteX4" fmla="*/ 430298 w 1263455"/>
                <a:gd name="connsiteY4" fmla="*/ 1139960 h 1154994"/>
                <a:gd name="connsiteX5" fmla="*/ 322280 w 1263455"/>
                <a:gd name="connsiteY5" fmla="*/ 1154994 h 1154994"/>
                <a:gd name="connsiteX6" fmla="*/ 33816 w 1263455"/>
                <a:gd name="connsiteY6" fmla="*/ 866530 h 1154994"/>
                <a:gd name="connsiteX7" fmla="*/ 33816 w 1263455"/>
                <a:gd name="connsiteY7" fmla="*/ 703252 h 1154994"/>
                <a:gd name="connsiteX8" fmla="*/ 703252 w 1263455"/>
                <a:gd name="connsiteY8" fmla="*/ 33816 h 1154994"/>
                <a:gd name="connsiteX9" fmla="*/ 784891 w 1263455"/>
                <a:gd name="connsiteY9" fmla="*/ 0 h 115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3455" h="1154994">
                  <a:moveTo>
                    <a:pt x="784891" y="0"/>
                  </a:moveTo>
                  <a:cubicBezTo>
                    <a:pt x="814439" y="0"/>
                    <a:pt x="843986" y="11272"/>
                    <a:pt x="866530" y="33816"/>
                  </a:cubicBezTo>
                  <a:lnTo>
                    <a:pt x="1263455" y="430740"/>
                  </a:lnTo>
                  <a:lnTo>
                    <a:pt x="1255671" y="458346"/>
                  </a:lnTo>
                  <a:cubicBezTo>
                    <a:pt x="1138321" y="802435"/>
                    <a:pt x="822483" y="1066770"/>
                    <a:pt x="430298" y="1139960"/>
                  </a:cubicBezTo>
                  <a:lnTo>
                    <a:pt x="322280" y="1154994"/>
                  </a:lnTo>
                  <a:lnTo>
                    <a:pt x="33816" y="866530"/>
                  </a:lnTo>
                  <a:cubicBezTo>
                    <a:pt x="-11272" y="821442"/>
                    <a:pt x="-11272" y="748340"/>
                    <a:pt x="33816" y="703252"/>
                  </a:cubicBezTo>
                  <a:lnTo>
                    <a:pt x="703252" y="33816"/>
                  </a:lnTo>
                  <a:cubicBezTo>
                    <a:pt x="725796" y="11272"/>
                    <a:pt x="755344" y="0"/>
                    <a:pt x="784891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89C745-D871-49D2-8202-150BC833FFAE}"/>
              </a:ext>
            </a:extLst>
          </p:cNvPr>
          <p:cNvGrpSpPr/>
          <p:nvPr/>
        </p:nvGrpSpPr>
        <p:grpSpPr>
          <a:xfrm>
            <a:off x="9399519" y="1584200"/>
            <a:ext cx="850984" cy="862669"/>
            <a:chOff x="16150298" y="1825625"/>
            <a:chExt cx="1373702" cy="1392564"/>
          </a:xfrm>
        </p:grpSpPr>
        <p:sp>
          <p:nvSpPr>
            <p:cNvPr id="31" name="Rounded Rectangle 53">
              <a:extLst>
                <a:ext uri="{FF2B5EF4-FFF2-40B4-BE49-F238E27FC236}">
                  <a16:creationId xmlns:a16="http://schemas.microsoft.com/office/drawing/2014/main" id="{C1F3B132-9B63-414F-A61B-A3F4333A39F0}"/>
                </a:ext>
              </a:extLst>
            </p:cNvPr>
            <p:cNvSpPr/>
            <p:nvPr/>
          </p:nvSpPr>
          <p:spPr>
            <a:xfrm rot="2700000">
              <a:off x="16346364" y="2040553"/>
              <a:ext cx="1177636" cy="1177636"/>
            </a:xfrm>
            <a:prstGeom prst="roundRect">
              <a:avLst>
                <a:gd name="adj" fmla="val 9804"/>
              </a:avLst>
            </a:prstGeom>
            <a:gradFill>
              <a:gsLst>
                <a:gs pos="25000">
                  <a:srgbClr val="D82435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 dirty="0"/>
            </a:p>
          </p:txBody>
        </p:sp>
        <p:sp>
          <p:nvSpPr>
            <p:cNvPr id="32" name="Freeform 54">
              <a:extLst>
                <a:ext uri="{FF2B5EF4-FFF2-40B4-BE49-F238E27FC236}">
                  <a16:creationId xmlns:a16="http://schemas.microsoft.com/office/drawing/2014/main" id="{33245D82-34D9-4671-9065-D7FD59AD242D}"/>
                </a:ext>
              </a:extLst>
            </p:cNvPr>
            <p:cNvSpPr/>
            <p:nvPr/>
          </p:nvSpPr>
          <p:spPr>
            <a:xfrm>
              <a:off x="16150298" y="1825625"/>
              <a:ext cx="1263455" cy="1154994"/>
            </a:xfrm>
            <a:custGeom>
              <a:avLst/>
              <a:gdLst>
                <a:gd name="connsiteX0" fmla="*/ 784891 w 1263455"/>
                <a:gd name="connsiteY0" fmla="*/ 0 h 1154994"/>
                <a:gd name="connsiteX1" fmla="*/ 866530 w 1263455"/>
                <a:gd name="connsiteY1" fmla="*/ 33816 h 1154994"/>
                <a:gd name="connsiteX2" fmla="*/ 1263455 w 1263455"/>
                <a:gd name="connsiteY2" fmla="*/ 430740 h 1154994"/>
                <a:gd name="connsiteX3" fmla="*/ 1255671 w 1263455"/>
                <a:gd name="connsiteY3" fmla="*/ 458346 h 1154994"/>
                <a:gd name="connsiteX4" fmla="*/ 430298 w 1263455"/>
                <a:gd name="connsiteY4" fmla="*/ 1139960 h 1154994"/>
                <a:gd name="connsiteX5" fmla="*/ 322280 w 1263455"/>
                <a:gd name="connsiteY5" fmla="*/ 1154994 h 1154994"/>
                <a:gd name="connsiteX6" fmla="*/ 33816 w 1263455"/>
                <a:gd name="connsiteY6" fmla="*/ 866530 h 1154994"/>
                <a:gd name="connsiteX7" fmla="*/ 33816 w 1263455"/>
                <a:gd name="connsiteY7" fmla="*/ 703252 h 1154994"/>
                <a:gd name="connsiteX8" fmla="*/ 703252 w 1263455"/>
                <a:gd name="connsiteY8" fmla="*/ 33816 h 1154994"/>
                <a:gd name="connsiteX9" fmla="*/ 784891 w 1263455"/>
                <a:gd name="connsiteY9" fmla="*/ 0 h 115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3455" h="1154994">
                  <a:moveTo>
                    <a:pt x="784891" y="0"/>
                  </a:moveTo>
                  <a:cubicBezTo>
                    <a:pt x="814439" y="0"/>
                    <a:pt x="843986" y="11272"/>
                    <a:pt x="866530" y="33816"/>
                  </a:cubicBezTo>
                  <a:lnTo>
                    <a:pt x="1263455" y="430740"/>
                  </a:lnTo>
                  <a:lnTo>
                    <a:pt x="1255671" y="458346"/>
                  </a:lnTo>
                  <a:cubicBezTo>
                    <a:pt x="1138321" y="802435"/>
                    <a:pt x="822483" y="1066770"/>
                    <a:pt x="430298" y="1139960"/>
                  </a:cubicBezTo>
                  <a:lnTo>
                    <a:pt x="322280" y="1154994"/>
                  </a:lnTo>
                  <a:lnTo>
                    <a:pt x="33816" y="866530"/>
                  </a:lnTo>
                  <a:cubicBezTo>
                    <a:pt x="-11272" y="821442"/>
                    <a:pt x="-11272" y="748340"/>
                    <a:pt x="33816" y="703252"/>
                  </a:cubicBezTo>
                  <a:lnTo>
                    <a:pt x="703252" y="33816"/>
                  </a:lnTo>
                  <a:cubicBezTo>
                    <a:pt x="725796" y="11272"/>
                    <a:pt x="755344" y="0"/>
                    <a:pt x="784891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60AF30B9-585C-4013-B615-E363B4699381}"/>
              </a:ext>
            </a:extLst>
          </p:cNvPr>
          <p:cNvSpPr txBox="1"/>
          <p:nvPr/>
        </p:nvSpPr>
        <p:spPr>
          <a:xfrm>
            <a:off x="2053058" y="1950866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FFFF"/>
                </a:solidFill>
              </a:rPr>
              <a:t>Ic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6C5F895-B2D1-4E6E-8599-B50B69B68F9F}"/>
              </a:ext>
            </a:extLst>
          </p:cNvPr>
          <p:cNvSpPr txBox="1"/>
          <p:nvPr/>
        </p:nvSpPr>
        <p:spPr>
          <a:xfrm>
            <a:off x="5940519" y="1950866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FFFF"/>
                </a:solidFill>
              </a:rPr>
              <a:t>Ic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039AC51-8FEA-43C7-B998-D3EA31BD7034}"/>
              </a:ext>
            </a:extLst>
          </p:cNvPr>
          <p:cNvSpPr txBox="1"/>
          <p:nvPr/>
        </p:nvSpPr>
        <p:spPr>
          <a:xfrm>
            <a:off x="9668704" y="1950866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FFFF"/>
                </a:solidFill>
              </a:rPr>
              <a:t>Icon</a:t>
            </a:r>
          </a:p>
        </p:txBody>
      </p:sp>
      <p:sp>
        <p:nvSpPr>
          <p:cNvPr id="44" name="Slide Number Placeholder 3">
            <a:extLst>
              <a:ext uri="{FF2B5EF4-FFF2-40B4-BE49-F238E27FC236}">
                <a16:creationId xmlns:a16="http://schemas.microsoft.com/office/drawing/2014/main" id="{0F281FBD-821E-4BC6-88B8-404A1F0D26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7357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137E3-3D99-41B2-95D7-30814A2169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768E81-5D27-4AC4-9547-762879BE03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9850" y="1598065"/>
            <a:ext cx="3510350" cy="4574135"/>
          </a:xfrm>
        </p:spPr>
        <p:txBody>
          <a:bodyPr>
            <a:normAutofit/>
          </a:bodyPr>
          <a:lstStyle>
            <a:lvl1pPr marL="339725" indent="-228600" algn="just">
              <a:spcAft>
                <a:spcPts val="1200"/>
              </a:spcAft>
              <a:defRPr sz="1400"/>
            </a:lvl1pPr>
            <a:lvl2pPr marL="339725" indent="-228600" algn="just">
              <a:spcAft>
                <a:spcPts val="1200"/>
              </a:spcAft>
              <a:defRPr sz="1200"/>
            </a:lvl2pPr>
            <a:lvl3pPr marL="339725" indent="-228600" algn="just">
              <a:spcAft>
                <a:spcPts val="1200"/>
              </a:spcAft>
              <a:defRPr sz="1100"/>
            </a:lvl3pPr>
            <a:lvl4pPr marL="339725" indent="-228600" algn="just">
              <a:spcAft>
                <a:spcPts val="1200"/>
              </a:spcAft>
              <a:defRPr sz="1050"/>
            </a:lvl4pPr>
            <a:lvl5pPr marL="339725" indent="-228600" algn="just">
              <a:spcAft>
                <a:spcPts val="120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A5F4FD7A-EA9F-4552-B3F6-30AC397A71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821E9E9-FC1A-4B4C-B58D-8D6B71B99AE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43930" y="1598065"/>
            <a:ext cx="3510350" cy="4574135"/>
          </a:xfrm>
        </p:spPr>
        <p:txBody>
          <a:bodyPr vert="horz" lIns="91440" tIns="45720" rIns="91440" bIns="45720" rtlCol="0">
            <a:normAutofit/>
          </a:bodyPr>
          <a:lstStyle>
            <a:lvl1pPr algn="just">
              <a:spcAft>
                <a:spcPts val="1200"/>
              </a:spcAft>
              <a:defRPr lang="en-US" sz="1400" smtClean="0"/>
            </a:lvl1pPr>
            <a:lvl2pPr algn="just">
              <a:spcAft>
                <a:spcPts val="1200"/>
              </a:spcAft>
              <a:defRPr lang="en-US" sz="1200" smtClean="0"/>
            </a:lvl2pPr>
            <a:lvl3pPr algn="just">
              <a:spcAft>
                <a:spcPts val="1200"/>
              </a:spcAft>
              <a:defRPr lang="en-US" sz="1100" smtClean="0"/>
            </a:lvl3pPr>
            <a:lvl4pPr algn="just">
              <a:spcAft>
                <a:spcPts val="1200"/>
              </a:spcAft>
              <a:defRPr lang="en-US" sz="1050" smtClean="0"/>
            </a:lvl4pPr>
            <a:lvl5pPr algn="just">
              <a:spcAft>
                <a:spcPts val="1200"/>
              </a:spcAft>
              <a:defRPr lang="en-US" sz="1050"/>
            </a:lvl5pPr>
          </a:lstStyle>
          <a:p>
            <a:pPr marL="339725" lvl="0"/>
            <a:r>
              <a:rPr lang="en-US"/>
              <a:t>Click to edit Master text styles</a:t>
            </a:r>
          </a:p>
          <a:p>
            <a:pPr marL="339725" lvl="1"/>
            <a:r>
              <a:rPr lang="en-US"/>
              <a:t>Second level</a:t>
            </a:r>
          </a:p>
          <a:p>
            <a:pPr marL="339725" lvl="2"/>
            <a:r>
              <a:rPr lang="en-US"/>
              <a:t>Third level</a:t>
            </a:r>
          </a:p>
          <a:p>
            <a:pPr marL="339725" lvl="3"/>
            <a:r>
              <a:rPr lang="en-US"/>
              <a:t>Fourth level</a:t>
            </a:r>
          </a:p>
          <a:p>
            <a:pPr marL="339725" lvl="4"/>
            <a:r>
              <a:rPr lang="en-US"/>
              <a:t>Fifth level</a:t>
            </a:r>
            <a:endParaRPr lang="en-US" dirty="0"/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2E066841-377F-4E7E-9967-311FF4F3122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058011" y="1598065"/>
            <a:ext cx="3510350" cy="4574135"/>
          </a:xfrm>
        </p:spPr>
        <p:txBody>
          <a:bodyPr vert="horz" lIns="91440" tIns="45720" rIns="91440" bIns="45720" rtlCol="0">
            <a:normAutofit/>
          </a:bodyPr>
          <a:lstStyle>
            <a:lvl1pPr algn="just">
              <a:spcAft>
                <a:spcPts val="1200"/>
              </a:spcAft>
              <a:defRPr lang="en-US" sz="1400" smtClean="0"/>
            </a:lvl1pPr>
            <a:lvl2pPr algn="just">
              <a:spcAft>
                <a:spcPts val="1200"/>
              </a:spcAft>
              <a:defRPr lang="en-US" sz="1200" smtClean="0"/>
            </a:lvl2pPr>
            <a:lvl3pPr algn="just">
              <a:spcAft>
                <a:spcPts val="1200"/>
              </a:spcAft>
              <a:defRPr lang="en-US" sz="1100" smtClean="0"/>
            </a:lvl3pPr>
            <a:lvl4pPr algn="just">
              <a:spcAft>
                <a:spcPts val="1200"/>
              </a:spcAft>
              <a:defRPr lang="en-US" sz="1050" smtClean="0"/>
            </a:lvl4pPr>
            <a:lvl5pPr algn="just">
              <a:spcAft>
                <a:spcPts val="1200"/>
              </a:spcAft>
              <a:defRPr lang="en-US" sz="1050"/>
            </a:lvl5pPr>
          </a:lstStyle>
          <a:p>
            <a:pPr marL="339725" lvl="0"/>
            <a:r>
              <a:rPr lang="en-US"/>
              <a:t>Click to edit Master text styles</a:t>
            </a:r>
          </a:p>
          <a:p>
            <a:pPr marL="339725" lvl="1"/>
            <a:r>
              <a:rPr lang="en-US"/>
              <a:t>Second level</a:t>
            </a:r>
          </a:p>
          <a:p>
            <a:pPr marL="339725" lvl="2"/>
            <a:r>
              <a:rPr lang="en-US"/>
              <a:t>Third level</a:t>
            </a:r>
          </a:p>
          <a:p>
            <a:pPr marL="339725" lvl="3"/>
            <a:r>
              <a:rPr lang="en-US"/>
              <a:t>Fourth level</a:t>
            </a:r>
          </a:p>
          <a:p>
            <a:pPr marL="339725"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1A914EA-08F4-4B51-B455-F1F55B352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25BB42C3-A3ED-4D1D-960D-0060DCB302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39249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509157"/>
            <a:ext cx="2743200" cy="154799"/>
          </a:xfrm>
        </p:spPr>
        <p:txBody>
          <a:bodyPr/>
          <a:lstStyle>
            <a:lvl1pPr>
              <a:defRPr sz="1000"/>
            </a:lvl1pPr>
          </a:lstStyle>
          <a:p>
            <a:fld id="{8710F370-CE09-41C8-82EB-9464658EFFCA}" type="datetime1">
              <a:rPr lang="id-ID" smtClean="0"/>
              <a:t>20/0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509157"/>
            <a:ext cx="4114800" cy="154800"/>
          </a:xfrm>
        </p:spPr>
        <p:txBody>
          <a:bodyPr lIns="0" tIns="0" rIns="0" bIns="0" anchor="ctr" anchorCtr="0"/>
          <a:lstStyle>
            <a:lvl1pPr algn="l">
              <a:defRPr sz="100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372357"/>
            <a:ext cx="302400" cy="428400"/>
          </a:xfrm>
        </p:spPr>
        <p:txBody>
          <a:bodyPr lIns="0" tIns="0" rIns="0" bIns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4034578A-BCA8-4876-AF0A-3D493F00BD23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734326" y="6751320"/>
            <a:ext cx="415743" cy="10668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734326" y="6269548"/>
            <a:ext cx="102816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376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Withou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137E3-3D99-41B2-95D7-30814A2169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768E81-5D27-4AC4-9547-762879BE03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9850" y="2198670"/>
            <a:ext cx="3164099" cy="39576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A5F4FD7A-EA9F-4552-B3F6-30AC397A71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821E9E9-FC1A-4B4C-B58D-8D6B71B99AE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13950" y="2198670"/>
            <a:ext cx="3164099" cy="39576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2E066841-377F-4E7E-9967-311FF4F3122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404261" y="2198670"/>
            <a:ext cx="3164099" cy="39576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18">
            <a:extLst>
              <a:ext uri="{FF2B5EF4-FFF2-40B4-BE49-F238E27FC236}">
                <a16:creationId xmlns:a16="http://schemas.microsoft.com/office/drawing/2014/main" id="{6E6B21D5-6327-42AE-B779-8BFB48752B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640" y="1605923"/>
            <a:ext cx="3164099" cy="452856"/>
          </a:xfrm>
          <a:solidFill>
            <a:srgbClr val="D82435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lang="en-US" sz="1400" kern="1200" dirty="0" smtClean="0">
                <a:solidFill>
                  <a:srgbClr val="FFFFFF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134A70D3-B164-4624-9FDB-771BE13F64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13950" y="1605923"/>
            <a:ext cx="3164099" cy="452856"/>
          </a:xfrm>
          <a:solidFill>
            <a:srgbClr val="D82435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lang="en-US" sz="1400" kern="1200" dirty="0" smtClean="0">
                <a:solidFill>
                  <a:srgbClr val="FFFFFF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2268C08B-A65C-43CD-8860-8E985542F6D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99251" y="1605923"/>
            <a:ext cx="3164099" cy="452856"/>
          </a:xfrm>
          <a:solidFill>
            <a:srgbClr val="D82435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lang="en-US" sz="1400" kern="1200" dirty="0" smtClean="0">
                <a:solidFill>
                  <a:srgbClr val="FFFFFF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9A9A830F-4499-4FA4-93C8-4795312E7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DCDFC2F8-ADC9-4B50-B72C-C314E4F437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83864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82776E-BCE2-4EBF-BF18-EFF985DB6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92F8134-30D6-47DA-AD21-B905B0341C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85B3703F-D65F-43FF-A3F7-FE08866123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5699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fi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890ED3D3-CD70-4B7D-8328-B552640B064D}"/>
              </a:ext>
            </a:extLst>
          </p:cNvPr>
          <p:cNvSpPr/>
          <p:nvPr/>
        </p:nvSpPr>
        <p:spPr>
          <a:xfrm>
            <a:off x="0" y="6122020"/>
            <a:ext cx="12192000" cy="752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1CD35C-CA22-4140-84A9-0F27D39F7D0D}"/>
              </a:ext>
            </a:extLst>
          </p:cNvPr>
          <p:cNvSpPr/>
          <p:nvPr/>
        </p:nvSpPr>
        <p:spPr>
          <a:xfrm>
            <a:off x="-1" y="0"/>
            <a:ext cx="2787805" cy="688345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35EF8738-8595-4A6F-9FE6-BF52B734718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861001" y="1344700"/>
            <a:ext cx="1873763" cy="2134857"/>
          </a:xfrm>
          <a:custGeom>
            <a:avLst/>
            <a:gdLst>
              <a:gd name="connsiteX0" fmla="*/ 2 w 2085260"/>
              <a:gd name="connsiteY0" fmla="*/ 818407 h 2142622"/>
              <a:gd name="connsiteX1" fmla="*/ 1042630 w 2085260"/>
              <a:gd name="connsiteY1" fmla="*/ 0 h 2142622"/>
              <a:gd name="connsiteX2" fmla="*/ 2085258 w 2085260"/>
              <a:gd name="connsiteY2" fmla="*/ 818407 h 2142622"/>
              <a:gd name="connsiteX3" fmla="*/ 1687009 w 2085260"/>
              <a:gd name="connsiteY3" fmla="*/ 2142617 h 2142622"/>
              <a:gd name="connsiteX4" fmla="*/ 398251 w 2085260"/>
              <a:gd name="connsiteY4" fmla="*/ 2142617 h 2142622"/>
              <a:gd name="connsiteX5" fmla="*/ 2 w 2085260"/>
              <a:gd name="connsiteY5" fmla="*/ 818407 h 2142622"/>
              <a:gd name="connsiteX0" fmla="*/ 0 w 2004391"/>
              <a:gd name="connsiteY0" fmla="*/ 470064 h 2142617"/>
              <a:gd name="connsiteX1" fmla="*/ 961763 w 2004391"/>
              <a:gd name="connsiteY1" fmla="*/ 0 h 2142617"/>
              <a:gd name="connsiteX2" fmla="*/ 2004391 w 2004391"/>
              <a:gd name="connsiteY2" fmla="*/ 818407 h 2142617"/>
              <a:gd name="connsiteX3" fmla="*/ 1606142 w 2004391"/>
              <a:gd name="connsiteY3" fmla="*/ 2142617 h 2142617"/>
              <a:gd name="connsiteX4" fmla="*/ 317384 w 2004391"/>
              <a:gd name="connsiteY4" fmla="*/ 2142617 h 2142617"/>
              <a:gd name="connsiteX5" fmla="*/ 0 w 2004391"/>
              <a:gd name="connsiteY5" fmla="*/ 470064 h 2142617"/>
              <a:gd name="connsiteX0" fmla="*/ 0 w 1873763"/>
              <a:gd name="connsiteY0" fmla="*/ 470064 h 2142617"/>
              <a:gd name="connsiteX1" fmla="*/ 961763 w 1873763"/>
              <a:gd name="connsiteY1" fmla="*/ 0 h 2142617"/>
              <a:gd name="connsiteX2" fmla="*/ 1873763 w 1873763"/>
              <a:gd name="connsiteY2" fmla="*/ 457623 h 2142617"/>
              <a:gd name="connsiteX3" fmla="*/ 1606142 w 1873763"/>
              <a:gd name="connsiteY3" fmla="*/ 2142617 h 2142617"/>
              <a:gd name="connsiteX4" fmla="*/ 317384 w 1873763"/>
              <a:gd name="connsiteY4" fmla="*/ 2142617 h 2142617"/>
              <a:gd name="connsiteX5" fmla="*/ 0 w 1873763"/>
              <a:gd name="connsiteY5" fmla="*/ 470064 h 2142617"/>
              <a:gd name="connsiteX0" fmla="*/ 0 w 1873763"/>
              <a:gd name="connsiteY0" fmla="*/ 470064 h 2142617"/>
              <a:gd name="connsiteX1" fmla="*/ 961763 w 1873763"/>
              <a:gd name="connsiteY1" fmla="*/ 0 h 2142617"/>
              <a:gd name="connsiteX2" fmla="*/ 1873763 w 1873763"/>
              <a:gd name="connsiteY2" fmla="*/ 457623 h 2142617"/>
              <a:gd name="connsiteX3" fmla="*/ 1873620 w 1873763"/>
              <a:gd name="connsiteY3" fmla="*/ 1676086 h 2142617"/>
              <a:gd name="connsiteX4" fmla="*/ 317384 w 1873763"/>
              <a:gd name="connsiteY4" fmla="*/ 2142617 h 2142617"/>
              <a:gd name="connsiteX5" fmla="*/ 0 w 1873763"/>
              <a:gd name="connsiteY5" fmla="*/ 470064 h 2142617"/>
              <a:gd name="connsiteX0" fmla="*/ 0 w 1873763"/>
              <a:gd name="connsiteY0" fmla="*/ 470064 h 1676086"/>
              <a:gd name="connsiteX1" fmla="*/ 961763 w 1873763"/>
              <a:gd name="connsiteY1" fmla="*/ 0 h 1676086"/>
              <a:gd name="connsiteX2" fmla="*/ 1873763 w 1873763"/>
              <a:gd name="connsiteY2" fmla="*/ 457623 h 1676086"/>
              <a:gd name="connsiteX3" fmla="*/ 1873620 w 1873763"/>
              <a:gd name="connsiteY3" fmla="*/ 1676086 h 1676086"/>
              <a:gd name="connsiteX4" fmla="*/ 6363 w 1873763"/>
              <a:gd name="connsiteY4" fmla="*/ 1669866 h 1676086"/>
              <a:gd name="connsiteX5" fmla="*/ 0 w 1873763"/>
              <a:gd name="connsiteY5" fmla="*/ 470064 h 1676086"/>
              <a:gd name="connsiteX0" fmla="*/ 0 w 1873763"/>
              <a:gd name="connsiteY0" fmla="*/ 470064 h 2134857"/>
              <a:gd name="connsiteX1" fmla="*/ 961763 w 1873763"/>
              <a:gd name="connsiteY1" fmla="*/ 0 h 2134857"/>
              <a:gd name="connsiteX2" fmla="*/ 1873763 w 1873763"/>
              <a:gd name="connsiteY2" fmla="*/ 457623 h 2134857"/>
              <a:gd name="connsiteX3" fmla="*/ 1873620 w 1873763"/>
              <a:gd name="connsiteY3" fmla="*/ 1676086 h 2134857"/>
              <a:gd name="connsiteX4" fmla="*/ 929933 w 1873763"/>
              <a:gd name="connsiteY4" fmla="*/ 2134847 h 2134857"/>
              <a:gd name="connsiteX5" fmla="*/ 6363 w 1873763"/>
              <a:gd name="connsiteY5" fmla="*/ 1669866 h 2134857"/>
              <a:gd name="connsiteX6" fmla="*/ 0 w 1873763"/>
              <a:gd name="connsiteY6" fmla="*/ 470064 h 2134857"/>
              <a:gd name="connsiteX0" fmla="*/ 0 w 1873763"/>
              <a:gd name="connsiteY0" fmla="*/ 470064 h 2167333"/>
              <a:gd name="connsiteX1" fmla="*/ 961763 w 1873763"/>
              <a:gd name="connsiteY1" fmla="*/ 0 h 2167333"/>
              <a:gd name="connsiteX2" fmla="*/ 1873763 w 1873763"/>
              <a:gd name="connsiteY2" fmla="*/ 457623 h 2167333"/>
              <a:gd name="connsiteX3" fmla="*/ 1873620 w 1873763"/>
              <a:gd name="connsiteY3" fmla="*/ 1676086 h 2167333"/>
              <a:gd name="connsiteX4" fmla="*/ 929933 w 1873763"/>
              <a:gd name="connsiteY4" fmla="*/ 2134847 h 2167333"/>
              <a:gd name="connsiteX5" fmla="*/ 6363 w 1873763"/>
              <a:gd name="connsiteY5" fmla="*/ 1669866 h 2167333"/>
              <a:gd name="connsiteX6" fmla="*/ 0 w 1873763"/>
              <a:gd name="connsiteY6" fmla="*/ 470064 h 2167333"/>
              <a:gd name="connsiteX0" fmla="*/ 0 w 1873763"/>
              <a:gd name="connsiteY0" fmla="*/ 470064 h 2139449"/>
              <a:gd name="connsiteX1" fmla="*/ 961763 w 1873763"/>
              <a:gd name="connsiteY1" fmla="*/ 0 h 2139449"/>
              <a:gd name="connsiteX2" fmla="*/ 1873763 w 1873763"/>
              <a:gd name="connsiteY2" fmla="*/ 457623 h 2139449"/>
              <a:gd name="connsiteX3" fmla="*/ 1873620 w 1873763"/>
              <a:gd name="connsiteY3" fmla="*/ 1676086 h 2139449"/>
              <a:gd name="connsiteX4" fmla="*/ 929933 w 1873763"/>
              <a:gd name="connsiteY4" fmla="*/ 2134847 h 2139449"/>
              <a:gd name="connsiteX5" fmla="*/ 6363 w 1873763"/>
              <a:gd name="connsiteY5" fmla="*/ 1669866 h 2139449"/>
              <a:gd name="connsiteX6" fmla="*/ 0 w 1873763"/>
              <a:gd name="connsiteY6" fmla="*/ 470064 h 2139449"/>
              <a:gd name="connsiteX0" fmla="*/ 0 w 1873763"/>
              <a:gd name="connsiteY0" fmla="*/ 470064 h 2135528"/>
              <a:gd name="connsiteX1" fmla="*/ 961763 w 1873763"/>
              <a:gd name="connsiteY1" fmla="*/ 0 h 2135528"/>
              <a:gd name="connsiteX2" fmla="*/ 1873763 w 1873763"/>
              <a:gd name="connsiteY2" fmla="*/ 457623 h 2135528"/>
              <a:gd name="connsiteX3" fmla="*/ 1873620 w 1873763"/>
              <a:gd name="connsiteY3" fmla="*/ 1676086 h 2135528"/>
              <a:gd name="connsiteX4" fmla="*/ 929933 w 1873763"/>
              <a:gd name="connsiteY4" fmla="*/ 2134847 h 2135528"/>
              <a:gd name="connsiteX5" fmla="*/ 6363 w 1873763"/>
              <a:gd name="connsiteY5" fmla="*/ 1669866 h 2135528"/>
              <a:gd name="connsiteX6" fmla="*/ 0 w 1873763"/>
              <a:gd name="connsiteY6" fmla="*/ 470064 h 2135528"/>
              <a:gd name="connsiteX0" fmla="*/ 0 w 1990413"/>
              <a:gd name="connsiteY0" fmla="*/ 470064 h 2135890"/>
              <a:gd name="connsiteX1" fmla="*/ 961763 w 1990413"/>
              <a:gd name="connsiteY1" fmla="*/ 0 h 2135890"/>
              <a:gd name="connsiteX2" fmla="*/ 1873763 w 1990413"/>
              <a:gd name="connsiteY2" fmla="*/ 457623 h 2135890"/>
              <a:gd name="connsiteX3" fmla="*/ 1873620 w 1990413"/>
              <a:gd name="connsiteY3" fmla="*/ 1676086 h 2135890"/>
              <a:gd name="connsiteX4" fmla="*/ 929933 w 1990413"/>
              <a:gd name="connsiteY4" fmla="*/ 2134847 h 2135890"/>
              <a:gd name="connsiteX5" fmla="*/ 6363 w 1990413"/>
              <a:gd name="connsiteY5" fmla="*/ 1669866 h 2135890"/>
              <a:gd name="connsiteX6" fmla="*/ 0 w 1990413"/>
              <a:gd name="connsiteY6" fmla="*/ 470064 h 2135890"/>
              <a:gd name="connsiteX0" fmla="*/ 0 w 1873763"/>
              <a:gd name="connsiteY0" fmla="*/ 470064 h 2135528"/>
              <a:gd name="connsiteX1" fmla="*/ 961763 w 1873763"/>
              <a:gd name="connsiteY1" fmla="*/ 0 h 2135528"/>
              <a:gd name="connsiteX2" fmla="*/ 1873763 w 1873763"/>
              <a:gd name="connsiteY2" fmla="*/ 457623 h 2135528"/>
              <a:gd name="connsiteX3" fmla="*/ 1873620 w 1873763"/>
              <a:gd name="connsiteY3" fmla="*/ 1676086 h 2135528"/>
              <a:gd name="connsiteX4" fmla="*/ 929933 w 1873763"/>
              <a:gd name="connsiteY4" fmla="*/ 2134847 h 2135528"/>
              <a:gd name="connsiteX5" fmla="*/ 6363 w 1873763"/>
              <a:gd name="connsiteY5" fmla="*/ 1669866 h 2135528"/>
              <a:gd name="connsiteX6" fmla="*/ 0 w 1873763"/>
              <a:gd name="connsiteY6" fmla="*/ 470064 h 2135528"/>
              <a:gd name="connsiteX0" fmla="*/ 0 w 1873763"/>
              <a:gd name="connsiteY0" fmla="*/ 470064 h 2134857"/>
              <a:gd name="connsiteX1" fmla="*/ 961763 w 1873763"/>
              <a:gd name="connsiteY1" fmla="*/ 0 h 2134857"/>
              <a:gd name="connsiteX2" fmla="*/ 1873763 w 1873763"/>
              <a:gd name="connsiteY2" fmla="*/ 457623 h 2134857"/>
              <a:gd name="connsiteX3" fmla="*/ 1873620 w 1873763"/>
              <a:gd name="connsiteY3" fmla="*/ 1676086 h 2134857"/>
              <a:gd name="connsiteX4" fmla="*/ 929933 w 1873763"/>
              <a:gd name="connsiteY4" fmla="*/ 2134847 h 2134857"/>
              <a:gd name="connsiteX5" fmla="*/ 6363 w 1873763"/>
              <a:gd name="connsiteY5" fmla="*/ 1669866 h 2134857"/>
              <a:gd name="connsiteX6" fmla="*/ 0 w 1873763"/>
              <a:gd name="connsiteY6" fmla="*/ 470064 h 2134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73763" h="2134857">
                <a:moveTo>
                  <a:pt x="0" y="470064"/>
                </a:moveTo>
                <a:lnTo>
                  <a:pt x="961763" y="0"/>
                </a:lnTo>
                <a:lnTo>
                  <a:pt x="1873763" y="457623"/>
                </a:lnTo>
                <a:cubicBezTo>
                  <a:pt x="1873715" y="863777"/>
                  <a:pt x="1868869" y="1678676"/>
                  <a:pt x="1873620" y="1676086"/>
                </a:cubicBezTo>
                <a:cubicBezTo>
                  <a:pt x="1878371" y="1673496"/>
                  <a:pt x="950064" y="2137436"/>
                  <a:pt x="929933" y="2134847"/>
                </a:cubicBezTo>
                <a:cubicBezTo>
                  <a:pt x="909802" y="2132258"/>
                  <a:pt x="314220" y="1824860"/>
                  <a:pt x="6363" y="1669866"/>
                </a:cubicBezTo>
                <a:lnTo>
                  <a:pt x="0" y="470064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82776E-BCE2-4EBF-BF18-EFF985DB63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91" y="4051736"/>
            <a:ext cx="2570975" cy="252203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en-US" dirty="0"/>
              <a:t>Team Member Name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158A7F1F-31B9-40BF-9B61-E44CA8DF115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3891" y="4357542"/>
            <a:ext cx="2570975" cy="31254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Team member position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13E36FDD-30D9-494F-9E76-E6973DCEF32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9647" y="231580"/>
            <a:ext cx="419813" cy="552823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Freeform 34">
            <a:extLst>
              <a:ext uri="{FF2B5EF4-FFF2-40B4-BE49-F238E27FC236}">
                <a16:creationId xmlns:a16="http://schemas.microsoft.com/office/drawing/2014/main" id="{0CBAC1D4-038D-4EB1-84A4-28A805C39DF3}"/>
              </a:ext>
            </a:extLst>
          </p:cNvPr>
          <p:cNvSpPr/>
          <p:nvPr/>
        </p:nvSpPr>
        <p:spPr>
          <a:xfrm>
            <a:off x="1675733" y="1134529"/>
            <a:ext cx="2205318" cy="2534855"/>
          </a:xfrm>
          <a:custGeom>
            <a:avLst/>
            <a:gdLst>
              <a:gd name="connsiteX0" fmla="*/ 0 w 2008628"/>
              <a:gd name="connsiteY0" fmla="*/ 873753 h 1747506"/>
              <a:gd name="connsiteX1" fmla="*/ 436877 w 2008628"/>
              <a:gd name="connsiteY1" fmla="*/ 0 h 1747506"/>
              <a:gd name="connsiteX2" fmla="*/ 1571752 w 2008628"/>
              <a:gd name="connsiteY2" fmla="*/ 0 h 1747506"/>
              <a:gd name="connsiteX3" fmla="*/ 2008628 w 2008628"/>
              <a:gd name="connsiteY3" fmla="*/ 873753 h 1747506"/>
              <a:gd name="connsiteX4" fmla="*/ 1571752 w 2008628"/>
              <a:gd name="connsiteY4" fmla="*/ 1747506 h 1747506"/>
              <a:gd name="connsiteX5" fmla="*/ 436877 w 2008628"/>
              <a:gd name="connsiteY5" fmla="*/ 1747506 h 1747506"/>
              <a:gd name="connsiteX6" fmla="*/ 0 w 2008628"/>
              <a:gd name="connsiteY6" fmla="*/ 873753 h 1747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08628" h="1747506">
                <a:moveTo>
                  <a:pt x="1004314" y="0"/>
                </a:moveTo>
                <a:lnTo>
                  <a:pt x="2008627" y="380083"/>
                </a:lnTo>
                <a:lnTo>
                  <a:pt x="2008627" y="1367424"/>
                </a:lnTo>
                <a:lnTo>
                  <a:pt x="1004314" y="1747506"/>
                </a:lnTo>
                <a:lnTo>
                  <a:pt x="1" y="1367424"/>
                </a:lnTo>
                <a:lnTo>
                  <a:pt x="1" y="380083"/>
                </a:lnTo>
                <a:lnTo>
                  <a:pt x="1004314" y="0"/>
                </a:lnTo>
                <a:close/>
              </a:path>
            </a:pathLst>
          </a:custGeom>
          <a:noFill/>
          <a:ln w="165100" cap="sq">
            <a:solidFill>
              <a:srgbClr val="F6BABA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spcFirstLastPara="0" vert="horz" wrap="square" lIns="272320" tIns="313010" rIns="272320" bIns="313010" numCol="1" spcCol="1270" anchor="ctr" anchorCtr="0">
            <a:noAutofit/>
          </a:bodyPr>
          <a:lstStyle/>
          <a:p>
            <a:pPr algn="ctr" defTabSz="160024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id-ID" sz="3600"/>
          </a:p>
        </p:txBody>
      </p:sp>
      <p:sp>
        <p:nvSpPr>
          <p:cNvPr id="35" name="Content Placeholder 27">
            <a:extLst>
              <a:ext uri="{FF2B5EF4-FFF2-40B4-BE49-F238E27FC236}">
                <a16:creationId xmlns:a16="http://schemas.microsoft.com/office/drawing/2014/main" id="{60F19ED5-43FF-4718-AD4E-C429461AE6F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3891" y="5382417"/>
            <a:ext cx="2570974" cy="31254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1pPr>
          </a:lstStyle>
          <a:p>
            <a:r>
              <a:rPr lang="en-US" dirty="0"/>
              <a:t>Email</a:t>
            </a:r>
          </a:p>
          <a:p>
            <a:r>
              <a:rPr lang="en-US" dirty="0"/>
              <a:t>Phone number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0B53503-0BCB-4FD1-8D08-4B9481E12062}"/>
              </a:ext>
            </a:extLst>
          </p:cNvPr>
          <p:cNvGrpSpPr/>
          <p:nvPr/>
        </p:nvGrpSpPr>
        <p:grpSpPr>
          <a:xfrm>
            <a:off x="115734" y="4755878"/>
            <a:ext cx="814898" cy="239249"/>
            <a:chOff x="1790700" y="5623267"/>
            <a:chExt cx="1046591" cy="307273"/>
          </a:xfrm>
        </p:grpSpPr>
        <p:sp>
          <p:nvSpPr>
            <p:cNvPr id="37" name="Freeform 346">
              <a:extLst>
                <a:ext uri="{FF2B5EF4-FFF2-40B4-BE49-F238E27FC236}">
                  <a16:creationId xmlns:a16="http://schemas.microsoft.com/office/drawing/2014/main" id="{0E52E462-CD64-43CE-A8A8-096A8D28D8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4793" y="5702764"/>
              <a:ext cx="117721" cy="149113"/>
            </a:xfrm>
            <a:custGeom>
              <a:avLst/>
              <a:gdLst>
                <a:gd name="T0" fmla="*/ 15 w 38"/>
                <a:gd name="T1" fmla="*/ 32 h 48"/>
                <a:gd name="T2" fmla="*/ 8 w 38"/>
                <a:gd name="T3" fmla="*/ 48 h 48"/>
                <a:gd name="T4" fmla="*/ 12 w 38"/>
                <a:gd name="T5" fmla="*/ 23 h 48"/>
                <a:gd name="T6" fmla="*/ 18 w 38"/>
                <a:gd name="T7" fmla="*/ 12 h 48"/>
                <a:gd name="T8" fmla="*/ 20 w 38"/>
                <a:gd name="T9" fmla="*/ 31 h 48"/>
                <a:gd name="T10" fmla="*/ 27 w 38"/>
                <a:gd name="T11" fmla="*/ 9 h 48"/>
                <a:gd name="T12" fmla="*/ 6 w 38"/>
                <a:gd name="T13" fmla="*/ 21 h 48"/>
                <a:gd name="T14" fmla="*/ 7 w 38"/>
                <a:gd name="T15" fmla="*/ 28 h 48"/>
                <a:gd name="T16" fmla="*/ 0 w 38"/>
                <a:gd name="T17" fmla="*/ 18 h 48"/>
                <a:gd name="T18" fmla="*/ 16 w 38"/>
                <a:gd name="T19" fmla="*/ 1 h 48"/>
                <a:gd name="T20" fmla="*/ 36 w 38"/>
                <a:gd name="T21" fmla="*/ 14 h 48"/>
                <a:gd name="T22" fmla="*/ 21 w 38"/>
                <a:gd name="T23" fmla="*/ 35 h 48"/>
                <a:gd name="T24" fmla="*/ 15 w 38"/>
                <a:gd name="T25" fmla="*/ 3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8">
                  <a:moveTo>
                    <a:pt x="15" y="32"/>
                  </a:moveTo>
                  <a:cubicBezTo>
                    <a:pt x="14" y="39"/>
                    <a:pt x="12" y="45"/>
                    <a:pt x="8" y="48"/>
                  </a:cubicBezTo>
                  <a:cubicBezTo>
                    <a:pt x="7" y="38"/>
                    <a:pt x="10" y="31"/>
                    <a:pt x="12" y="23"/>
                  </a:cubicBezTo>
                  <a:cubicBezTo>
                    <a:pt x="9" y="19"/>
                    <a:pt x="12" y="10"/>
                    <a:pt x="18" y="12"/>
                  </a:cubicBezTo>
                  <a:cubicBezTo>
                    <a:pt x="25" y="15"/>
                    <a:pt x="12" y="29"/>
                    <a:pt x="20" y="31"/>
                  </a:cubicBezTo>
                  <a:cubicBezTo>
                    <a:pt x="29" y="32"/>
                    <a:pt x="33" y="15"/>
                    <a:pt x="27" y="9"/>
                  </a:cubicBezTo>
                  <a:cubicBezTo>
                    <a:pt x="19" y="1"/>
                    <a:pt x="4" y="9"/>
                    <a:pt x="6" y="21"/>
                  </a:cubicBezTo>
                  <a:cubicBezTo>
                    <a:pt x="6" y="24"/>
                    <a:pt x="9" y="24"/>
                    <a:pt x="7" y="28"/>
                  </a:cubicBezTo>
                  <a:cubicBezTo>
                    <a:pt x="2" y="27"/>
                    <a:pt x="0" y="23"/>
                    <a:pt x="0" y="18"/>
                  </a:cubicBezTo>
                  <a:cubicBezTo>
                    <a:pt x="0" y="9"/>
                    <a:pt x="8" y="2"/>
                    <a:pt x="16" y="1"/>
                  </a:cubicBezTo>
                  <a:cubicBezTo>
                    <a:pt x="26" y="0"/>
                    <a:pt x="35" y="5"/>
                    <a:pt x="36" y="14"/>
                  </a:cubicBezTo>
                  <a:cubicBezTo>
                    <a:pt x="38" y="25"/>
                    <a:pt x="32" y="36"/>
                    <a:pt x="21" y="35"/>
                  </a:cubicBezTo>
                  <a:cubicBezTo>
                    <a:pt x="19" y="35"/>
                    <a:pt x="17" y="34"/>
                    <a:pt x="15" y="3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id-ID" sz="2400">
                <a:solidFill>
                  <a:srgbClr val="000000"/>
                </a:solidFill>
                <a:latin typeface="Nexa Light" panose="02000000000000000000" pitchFamily="50" charset="0"/>
              </a:endParaRPr>
            </a:p>
          </p:txBody>
        </p:sp>
        <p:sp>
          <p:nvSpPr>
            <p:cNvPr id="38" name="Freeform 370">
              <a:extLst>
                <a:ext uri="{FF2B5EF4-FFF2-40B4-BE49-F238E27FC236}">
                  <a16:creationId xmlns:a16="http://schemas.microsoft.com/office/drawing/2014/main" id="{BC3AF366-010F-48C7-B492-B9482D8EF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4119" y="5711231"/>
              <a:ext cx="73250" cy="130800"/>
            </a:xfrm>
            <a:custGeom>
              <a:avLst/>
              <a:gdLst>
                <a:gd name="T0" fmla="*/ 24 w 24"/>
                <a:gd name="T1" fmla="*/ 7 h 42"/>
                <a:gd name="T2" fmla="*/ 17 w 24"/>
                <a:gd name="T3" fmla="*/ 7 h 42"/>
                <a:gd name="T4" fmla="*/ 15 w 24"/>
                <a:gd name="T5" fmla="*/ 9 h 42"/>
                <a:gd name="T6" fmla="*/ 15 w 24"/>
                <a:gd name="T7" fmla="*/ 14 h 42"/>
                <a:gd name="T8" fmla="*/ 24 w 24"/>
                <a:gd name="T9" fmla="*/ 14 h 42"/>
                <a:gd name="T10" fmla="*/ 24 w 24"/>
                <a:gd name="T11" fmla="*/ 21 h 42"/>
                <a:gd name="T12" fmla="*/ 15 w 24"/>
                <a:gd name="T13" fmla="*/ 21 h 42"/>
                <a:gd name="T14" fmla="*/ 15 w 24"/>
                <a:gd name="T15" fmla="*/ 42 h 42"/>
                <a:gd name="T16" fmla="*/ 8 w 24"/>
                <a:gd name="T17" fmla="*/ 42 h 42"/>
                <a:gd name="T18" fmla="*/ 8 w 24"/>
                <a:gd name="T19" fmla="*/ 21 h 42"/>
                <a:gd name="T20" fmla="*/ 0 w 24"/>
                <a:gd name="T21" fmla="*/ 21 h 42"/>
                <a:gd name="T22" fmla="*/ 0 w 24"/>
                <a:gd name="T23" fmla="*/ 14 h 42"/>
                <a:gd name="T24" fmla="*/ 8 w 24"/>
                <a:gd name="T25" fmla="*/ 14 h 42"/>
                <a:gd name="T26" fmla="*/ 8 w 24"/>
                <a:gd name="T27" fmla="*/ 10 h 42"/>
                <a:gd name="T28" fmla="*/ 17 w 24"/>
                <a:gd name="T29" fmla="*/ 0 h 42"/>
                <a:gd name="T30" fmla="*/ 24 w 24"/>
                <a:gd name="T31" fmla="*/ 0 h 42"/>
                <a:gd name="T32" fmla="*/ 24 w 24"/>
                <a:gd name="T33" fmla="*/ 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42">
                  <a:moveTo>
                    <a:pt x="24" y="7"/>
                  </a:moveTo>
                  <a:cubicBezTo>
                    <a:pt x="17" y="7"/>
                    <a:pt x="17" y="7"/>
                    <a:pt x="17" y="7"/>
                  </a:cubicBezTo>
                  <a:cubicBezTo>
                    <a:pt x="16" y="7"/>
                    <a:pt x="15" y="8"/>
                    <a:pt x="15" y="9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4"/>
                    <a:pt x="12" y="0"/>
                    <a:pt x="17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4" y="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id-ID" sz="2400">
                <a:solidFill>
                  <a:srgbClr val="000000"/>
                </a:solidFill>
                <a:latin typeface="Nexa Light" panose="02000000000000000000" pitchFamily="50" charset="0"/>
              </a:endParaRPr>
            </a:p>
          </p:txBody>
        </p:sp>
        <p:sp>
          <p:nvSpPr>
            <p:cNvPr id="39" name="Freeform 380">
              <a:extLst>
                <a:ext uri="{FF2B5EF4-FFF2-40B4-BE49-F238E27FC236}">
                  <a16:creationId xmlns:a16="http://schemas.microsoft.com/office/drawing/2014/main" id="{A3F6E302-1CF3-42AD-A4A7-D46701C28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8281" y="5718297"/>
              <a:ext cx="132110" cy="107256"/>
            </a:xfrm>
            <a:custGeom>
              <a:avLst/>
              <a:gdLst>
                <a:gd name="T0" fmla="*/ 43 w 43"/>
                <a:gd name="T1" fmla="*/ 4 h 35"/>
                <a:gd name="T2" fmla="*/ 38 w 43"/>
                <a:gd name="T3" fmla="*/ 6 h 35"/>
                <a:gd name="T4" fmla="*/ 42 w 43"/>
                <a:gd name="T5" fmla="*/ 1 h 35"/>
                <a:gd name="T6" fmla="*/ 36 w 43"/>
                <a:gd name="T7" fmla="*/ 3 h 35"/>
                <a:gd name="T8" fmla="*/ 30 w 43"/>
                <a:gd name="T9" fmla="*/ 0 h 35"/>
                <a:gd name="T10" fmla="*/ 21 w 43"/>
                <a:gd name="T11" fmla="*/ 9 h 35"/>
                <a:gd name="T12" fmla="*/ 21 w 43"/>
                <a:gd name="T13" fmla="*/ 11 h 35"/>
                <a:gd name="T14" fmla="*/ 3 w 43"/>
                <a:gd name="T15" fmla="*/ 2 h 35"/>
                <a:gd name="T16" fmla="*/ 2 w 43"/>
                <a:gd name="T17" fmla="*/ 6 h 35"/>
                <a:gd name="T18" fmla="*/ 6 w 43"/>
                <a:gd name="T19" fmla="*/ 14 h 35"/>
                <a:gd name="T20" fmla="*/ 2 w 43"/>
                <a:gd name="T21" fmla="*/ 13 h 35"/>
                <a:gd name="T22" fmla="*/ 2 w 43"/>
                <a:gd name="T23" fmla="*/ 13 h 35"/>
                <a:gd name="T24" fmla="*/ 9 w 43"/>
                <a:gd name="T25" fmla="*/ 21 h 35"/>
                <a:gd name="T26" fmla="*/ 6 w 43"/>
                <a:gd name="T27" fmla="*/ 22 h 35"/>
                <a:gd name="T28" fmla="*/ 5 w 43"/>
                <a:gd name="T29" fmla="*/ 22 h 35"/>
                <a:gd name="T30" fmla="*/ 13 w 43"/>
                <a:gd name="T31" fmla="*/ 28 h 35"/>
                <a:gd name="T32" fmla="*/ 2 w 43"/>
                <a:gd name="T33" fmla="*/ 31 h 35"/>
                <a:gd name="T34" fmla="*/ 0 w 43"/>
                <a:gd name="T35" fmla="*/ 31 h 35"/>
                <a:gd name="T36" fmla="*/ 13 w 43"/>
                <a:gd name="T37" fmla="*/ 35 h 35"/>
                <a:gd name="T38" fmla="*/ 39 w 43"/>
                <a:gd name="T39" fmla="*/ 10 h 35"/>
                <a:gd name="T40" fmla="*/ 39 w 43"/>
                <a:gd name="T41" fmla="*/ 9 h 35"/>
                <a:gd name="T42" fmla="*/ 43 w 43"/>
                <a:gd name="T43" fmla="*/ 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35">
                  <a:moveTo>
                    <a:pt x="43" y="4"/>
                  </a:moveTo>
                  <a:cubicBezTo>
                    <a:pt x="41" y="5"/>
                    <a:pt x="40" y="6"/>
                    <a:pt x="38" y="6"/>
                  </a:cubicBezTo>
                  <a:cubicBezTo>
                    <a:pt x="40" y="5"/>
                    <a:pt x="41" y="3"/>
                    <a:pt x="42" y="1"/>
                  </a:cubicBezTo>
                  <a:cubicBezTo>
                    <a:pt x="40" y="2"/>
                    <a:pt x="38" y="3"/>
                    <a:pt x="36" y="3"/>
                  </a:cubicBezTo>
                  <a:cubicBezTo>
                    <a:pt x="35" y="1"/>
                    <a:pt x="32" y="0"/>
                    <a:pt x="30" y="0"/>
                  </a:cubicBezTo>
                  <a:cubicBezTo>
                    <a:pt x="25" y="0"/>
                    <a:pt x="21" y="4"/>
                    <a:pt x="21" y="9"/>
                  </a:cubicBezTo>
                  <a:cubicBezTo>
                    <a:pt x="21" y="10"/>
                    <a:pt x="21" y="10"/>
                    <a:pt x="21" y="11"/>
                  </a:cubicBezTo>
                  <a:cubicBezTo>
                    <a:pt x="14" y="11"/>
                    <a:pt x="7" y="7"/>
                    <a:pt x="3" y="2"/>
                  </a:cubicBezTo>
                  <a:cubicBezTo>
                    <a:pt x="2" y="3"/>
                    <a:pt x="2" y="5"/>
                    <a:pt x="2" y="6"/>
                  </a:cubicBezTo>
                  <a:cubicBezTo>
                    <a:pt x="2" y="9"/>
                    <a:pt x="3" y="12"/>
                    <a:pt x="6" y="14"/>
                  </a:cubicBezTo>
                  <a:cubicBezTo>
                    <a:pt x="4" y="14"/>
                    <a:pt x="3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7"/>
                    <a:pt x="5" y="21"/>
                    <a:pt x="9" y="21"/>
                  </a:cubicBezTo>
                  <a:cubicBezTo>
                    <a:pt x="8" y="22"/>
                    <a:pt x="7" y="22"/>
                    <a:pt x="6" y="22"/>
                  </a:cubicBezTo>
                  <a:cubicBezTo>
                    <a:pt x="6" y="22"/>
                    <a:pt x="5" y="22"/>
                    <a:pt x="5" y="22"/>
                  </a:cubicBezTo>
                  <a:cubicBezTo>
                    <a:pt x="6" y="25"/>
                    <a:pt x="9" y="28"/>
                    <a:pt x="13" y="28"/>
                  </a:cubicBezTo>
                  <a:cubicBezTo>
                    <a:pt x="10" y="30"/>
                    <a:pt x="6" y="31"/>
                    <a:pt x="2" y="31"/>
                  </a:cubicBezTo>
                  <a:cubicBezTo>
                    <a:pt x="1" y="31"/>
                    <a:pt x="1" y="31"/>
                    <a:pt x="0" y="31"/>
                  </a:cubicBezTo>
                  <a:cubicBezTo>
                    <a:pt x="4" y="34"/>
                    <a:pt x="8" y="35"/>
                    <a:pt x="13" y="35"/>
                  </a:cubicBezTo>
                  <a:cubicBezTo>
                    <a:pt x="30" y="35"/>
                    <a:pt x="39" y="22"/>
                    <a:pt x="39" y="10"/>
                  </a:cubicBezTo>
                  <a:cubicBezTo>
                    <a:pt x="39" y="10"/>
                    <a:pt x="39" y="9"/>
                    <a:pt x="39" y="9"/>
                  </a:cubicBezTo>
                  <a:cubicBezTo>
                    <a:pt x="40" y="8"/>
                    <a:pt x="42" y="6"/>
                    <a:pt x="43" y="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id-ID" sz="2400">
                <a:solidFill>
                  <a:srgbClr val="000000"/>
                </a:solidFill>
                <a:latin typeface="Nexa Light" panose="02000000000000000000" pitchFamily="50" charset="0"/>
              </a:endParaRPr>
            </a:p>
          </p:txBody>
        </p:sp>
        <p:sp>
          <p:nvSpPr>
            <p:cNvPr id="40" name="AutoShape 3">
              <a:extLst>
                <a:ext uri="{FF2B5EF4-FFF2-40B4-BE49-F238E27FC236}">
                  <a16:creationId xmlns:a16="http://schemas.microsoft.com/office/drawing/2014/main" id="{248B0464-D72A-44A4-8E09-2143E1DBBA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0700" y="5623267"/>
              <a:ext cx="307273" cy="307273"/>
            </a:xfrm>
            <a:custGeom>
              <a:avLst/>
              <a:gdLst/>
              <a:ahLst/>
              <a:cxnLst/>
              <a:rect l="0" t="0" r="r" b="b"/>
              <a:pathLst>
                <a:path w="20465" h="20465">
                  <a:moveTo>
                    <a:pt x="18764" y="6107"/>
                  </a:moveTo>
                  <a:cubicBezTo>
                    <a:pt x="21033" y="8376"/>
                    <a:pt x="21033" y="12090"/>
                    <a:pt x="18764" y="14359"/>
                  </a:cubicBezTo>
                  <a:lnTo>
                    <a:pt x="14359" y="18764"/>
                  </a:lnTo>
                  <a:cubicBezTo>
                    <a:pt x="12090" y="21033"/>
                    <a:pt x="8376" y="21033"/>
                    <a:pt x="6107" y="18764"/>
                  </a:cubicBezTo>
                  <a:lnTo>
                    <a:pt x="1702" y="14359"/>
                  </a:lnTo>
                  <a:cubicBezTo>
                    <a:pt x="-567" y="12090"/>
                    <a:pt x="-567" y="8376"/>
                    <a:pt x="1702" y="6107"/>
                  </a:cubicBezTo>
                  <a:lnTo>
                    <a:pt x="6107" y="1702"/>
                  </a:lnTo>
                  <a:cubicBezTo>
                    <a:pt x="8376" y="-567"/>
                    <a:pt x="12090" y="-567"/>
                    <a:pt x="14359" y="1702"/>
                  </a:cubicBezTo>
                  <a:lnTo>
                    <a:pt x="18764" y="6107"/>
                  </a:lnTo>
                  <a:close/>
                  <a:moveTo>
                    <a:pt x="18764" y="6107"/>
                  </a:moveTo>
                </a:path>
              </a:pathLst>
            </a:custGeom>
            <a:noFill/>
            <a:ln w="635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</a:ln>
          </p:spPr>
          <p:txBody>
            <a:bodyPr lIns="0" tIns="0" rIns="0" bIns="0"/>
            <a:lstStyle/>
            <a:p>
              <a:endParaRPr lang="en-US" dirty="0">
                <a:latin typeface="Nexa Light" panose="02000000000000000000" pitchFamily="50" charset="0"/>
              </a:endParaRPr>
            </a:p>
          </p:txBody>
        </p:sp>
        <p:sp>
          <p:nvSpPr>
            <p:cNvPr id="41" name="AutoShape 3">
              <a:extLst>
                <a:ext uri="{FF2B5EF4-FFF2-40B4-BE49-F238E27FC236}">
                  <a16:creationId xmlns:a16="http://schemas.microsoft.com/office/drawing/2014/main" id="{D79FBBBE-C6C5-4827-9A6B-83A22E513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7688" y="5623267"/>
              <a:ext cx="307273" cy="307273"/>
            </a:xfrm>
            <a:custGeom>
              <a:avLst/>
              <a:gdLst/>
              <a:ahLst/>
              <a:cxnLst/>
              <a:rect l="0" t="0" r="r" b="b"/>
              <a:pathLst>
                <a:path w="20465" h="20465">
                  <a:moveTo>
                    <a:pt x="18764" y="6107"/>
                  </a:moveTo>
                  <a:cubicBezTo>
                    <a:pt x="21033" y="8376"/>
                    <a:pt x="21033" y="12090"/>
                    <a:pt x="18764" y="14359"/>
                  </a:cubicBezTo>
                  <a:lnTo>
                    <a:pt x="14359" y="18764"/>
                  </a:lnTo>
                  <a:cubicBezTo>
                    <a:pt x="12090" y="21033"/>
                    <a:pt x="8376" y="21033"/>
                    <a:pt x="6107" y="18764"/>
                  </a:cubicBezTo>
                  <a:lnTo>
                    <a:pt x="1702" y="14359"/>
                  </a:lnTo>
                  <a:cubicBezTo>
                    <a:pt x="-567" y="12090"/>
                    <a:pt x="-567" y="8376"/>
                    <a:pt x="1702" y="6107"/>
                  </a:cubicBezTo>
                  <a:lnTo>
                    <a:pt x="6107" y="1702"/>
                  </a:lnTo>
                  <a:cubicBezTo>
                    <a:pt x="8376" y="-567"/>
                    <a:pt x="12090" y="-567"/>
                    <a:pt x="14359" y="1702"/>
                  </a:cubicBezTo>
                  <a:lnTo>
                    <a:pt x="18764" y="6107"/>
                  </a:lnTo>
                  <a:close/>
                  <a:moveTo>
                    <a:pt x="18764" y="6107"/>
                  </a:moveTo>
                </a:path>
              </a:pathLst>
            </a:custGeom>
            <a:noFill/>
            <a:ln w="635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</a:ln>
          </p:spPr>
          <p:txBody>
            <a:bodyPr lIns="0" tIns="0" rIns="0" bIns="0"/>
            <a:lstStyle/>
            <a:p>
              <a:endParaRPr lang="en-US" dirty="0">
                <a:latin typeface="Nexa Light" panose="02000000000000000000" pitchFamily="50" charset="0"/>
              </a:endParaRPr>
            </a:p>
          </p:txBody>
        </p:sp>
        <p:sp>
          <p:nvSpPr>
            <p:cNvPr id="42" name="AutoShape 3">
              <a:extLst>
                <a:ext uri="{FF2B5EF4-FFF2-40B4-BE49-F238E27FC236}">
                  <a16:creationId xmlns:a16="http://schemas.microsoft.com/office/drawing/2014/main" id="{02281D2F-12D6-4A9E-98BD-EA874F420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0018" y="5623267"/>
              <a:ext cx="307273" cy="307273"/>
            </a:xfrm>
            <a:custGeom>
              <a:avLst/>
              <a:gdLst/>
              <a:ahLst/>
              <a:cxnLst/>
              <a:rect l="0" t="0" r="r" b="b"/>
              <a:pathLst>
                <a:path w="20465" h="20465">
                  <a:moveTo>
                    <a:pt x="18764" y="6107"/>
                  </a:moveTo>
                  <a:cubicBezTo>
                    <a:pt x="21033" y="8376"/>
                    <a:pt x="21033" y="12090"/>
                    <a:pt x="18764" y="14359"/>
                  </a:cubicBezTo>
                  <a:lnTo>
                    <a:pt x="14359" y="18764"/>
                  </a:lnTo>
                  <a:cubicBezTo>
                    <a:pt x="12090" y="21033"/>
                    <a:pt x="8376" y="21033"/>
                    <a:pt x="6107" y="18764"/>
                  </a:cubicBezTo>
                  <a:lnTo>
                    <a:pt x="1702" y="14359"/>
                  </a:lnTo>
                  <a:cubicBezTo>
                    <a:pt x="-567" y="12090"/>
                    <a:pt x="-567" y="8376"/>
                    <a:pt x="1702" y="6107"/>
                  </a:cubicBezTo>
                  <a:lnTo>
                    <a:pt x="6107" y="1702"/>
                  </a:lnTo>
                  <a:cubicBezTo>
                    <a:pt x="8376" y="-567"/>
                    <a:pt x="12090" y="-567"/>
                    <a:pt x="14359" y="1702"/>
                  </a:cubicBezTo>
                  <a:lnTo>
                    <a:pt x="18764" y="6107"/>
                  </a:lnTo>
                  <a:close/>
                  <a:moveTo>
                    <a:pt x="18764" y="6107"/>
                  </a:moveTo>
                </a:path>
              </a:pathLst>
            </a:custGeom>
            <a:noFill/>
            <a:ln w="635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</a:ln>
          </p:spPr>
          <p:txBody>
            <a:bodyPr lIns="0" tIns="0" rIns="0" bIns="0"/>
            <a:lstStyle/>
            <a:p>
              <a:endParaRPr lang="en-US" dirty="0">
                <a:latin typeface="Nexa Light" panose="02000000000000000000" pitchFamily="50" charset="0"/>
              </a:endParaRPr>
            </a:p>
          </p:txBody>
        </p:sp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DCDBB1D9-35E5-4DF8-AAC5-F6A3AD96AA9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 b="-11530"/>
          <a:stretch/>
        </p:blipFill>
        <p:spPr>
          <a:xfrm>
            <a:off x="-11151" y="6094776"/>
            <a:ext cx="4567241" cy="87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6028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890ED3D3-CD70-4B7D-8328-B552640B064D}"/>
              </a:ext>
            </a:extLst>
          </p:cNvPr>
          <p:cNvSpPr/>
          <p:nvPr/>
        </p:nvSpPr>
        <p:spPr>
          <a:xfrm>
            <a:off x="0" y="6122020"/>
            <a:ext cx="12192000" cy="752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17CF462-FD97-421C-A0CF-D90D00214B8A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04"/>
          <a:stretch/>
        </p:blipFill>
        <p:spPr bwMode="auto">
          <a:xfrm>
            <a:off x="213594" y="3985209"/>
            <a:ext cx="2360615" cy="286250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E1CD35C-CA22-4140-84A9-0F27D39F7D0D}"/>
              </a:ext>
            </a:extLst>
          </p:cNvPr>
          <p:cNvSpPr/>
          <p:nvPr/>
        </p:nvSpPr>
        <p:spPr>
          <a:xfrm>
            <a:off x="-2" y="0"/>
            <a:ext cx="2787805" cy="6883450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DCDBB1D9-35E5-4DF8-AAC5-F6A3AD96AA9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 b="-11530"/>
          <a:stretch/>
        </p:blipFill>
        <p:spPr>
          <a:xfrm>
            <a:off x="7851684" y="6095644"/>
            <a:ext cx="4567241" cy="873784"/>
          </a:xfrm>
          <a:prstGeom prst="rect">
            <a:avLst/>
          </a:prstGeom>
        </p:spPr>
      </p:pic>
      <p:sp>
        <p:nvSpPr>
          <p:cNvPr id="5" name="Freeform 34">
            <a:extLst>
              <a:ext uri="{FF2B5EF4-FFF2-40B4-BE49-F238E27FC236}">
                <a16:creationId xmlns:a16="http://schemas.microsoft.com/office/drawing/2014/main" id="{9A9E7D5D-9F31-4EB6-9817-4FC71B7042F0}"/>
              </a:ext>
            </a:extLst>
          </p:cNvPr>
          <p:cNvSpPr/>
          <p:nvPr/>
        </p:nvSpPr>
        <p:spPr>
          <a:xfrm>
            <a:off x="565458" y="663931"/>
            <a:ext cx="1656888" cy="1904475"/>
          </a:xfrm>
          <a:custGeom>
            <a:avLst/>
            <a:gdLst>
              <a:gd name="connsiteX0" fmla="*/ 0 w 2008628"/>
              <a:gd name="connsiteY0" fmla="*/ 873753 h 1747506"/>
              <a:gd name="connsiteX1" fmla="*/ 436877 w 2008628"/>
              <a:gd name="connsiteY1" fmla="*/ 0 h 1747506"/>
              <a:gd name="connsiteX2" fmla="*/ 1571752 w 2008628"/>
              <a:gd name="connsiteY2" fmla="*/ 0 h 1747506"/>
              <a:gd name="connsiteX3" fmla="*/ 2008628 w 2008628"/>
              <a:gd name="connsiteY3" fmla="*/ 873753 h 1747506"/>
              <a:gd name="connsiteX4" fmla="*/ 1571752 w 2008628"/>
              <a:gd name="connsiteY4" fmla="*/ 1747506 h 1747506"/>
              <a:gd name="connsiteX5" fmla="*/ 436877 w 2008628"/>
              <a:gd name="connsiteY5" fmla="*/ 1747506 h 1747506"/>
              <a:gd name="connsiteX6" fmla="*/ 0 w 2008628"/>
              <a:gd name="connsiteY6" fmla="*/ 873753 h 1747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08628" h="1747506">
                <a:moveTo>
                  <a:pt x="1004314" y="0"/>
                </a:moveTo>
                <a:lnTo>
                  <a:pt x="2008627" y="380083"/>
                </a:lnTo>
                <a:lnTo>
                  <a:pt x="2008627" y="1367424"/>
                </a:lnTo>
                <a:lnTo>
                  <a:pt x="1004314" y="1747506"/>
                </a:lnTo>
                <a:lnTo>
                  <a:pt x="1" y="1367424"/>
                </a:lnTo>
                <a:lnTo>
                  <a:pt x="1" y="380083"/>
                </a:lnTo>
                <a:lnTo>
                  <a:pt x="1004314" y="0"/>
                </a:lnTo>
                <a:close/>
              </a:path>
            </a:pathLst>
          </a:custGeom>
          <a:noFill/>
          <a:ln w="165100" cap="sq">
            <a:solidFill>
              <a:srgbClr val="D82435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spcFirstLastPara="0" vert="horz" wrap="square" lIns="272320" tIns="313010" rIns="272320" bIns="313010" numCol="1" spcCol="1270" anchor="ctr" anchorCtr="0">
            <a:noAutofit/>
          </a:bodyPr>
          <a:lstStyle/>
          <a:p>
            <a:pPr algn="ctr" defTabSz="160024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id-ID" sz="3600"/>
          </a:p>
        </p:txBody>
      </p:sp>
    </p:spTree>
    <p:extLst>
      <p:ext uri="{BB962C8B-B14F-4D97-AF65-F5344CB8AC3E}">
        <p14:creationId xmlns:p14="http://schemas.microsoft.com/office/powerpoint/2010/main" val="22683302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pla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F66D0B-423C-4F60-8A41-38AB77CCF537}"/>
              </a:ext>
            </a:extLst>
          </p:cNvPr>
          <p:cNvSpPr/>
          <p:nvPr/>
        </p:nvSpPr>
        <p:spPr>
          <a:xfrm>
            <a:off x="-1" y="2171239"/>
            <a:ext cx="6889711" cy="2515521"/>
          </a:xfrm>
          <a:prstGeom prst="rect">
            <a:avLst/>
          </a:prstGeom>
          <a:solidFill>
            <a:schemeClr val="bg1">
              <a:lumMod val="95000"/>
              <a:alpha val="2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801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C62E4-0AFF-4351-939C-57BFEA05B8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A43813B-3A95-4FEF-B670-00EE21492575}"/>
              </a:ext>
            </a:extLst>
          </p:cNvPr>
          <p:cNvCxnSpPr/>
          <p:nvPr/>
        </p:nvCxnSpPr>
        <p:spPr>
          <a:xfrm>
            <a:off x="6889721" y="1506807"/>
            <a:ext cx="0" cy="384438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A77C1E2-8B51-4DED-BC74-336CD7520BC3}"/>
              </a:ext>
            </a:extLst>
          </p:cNvPr>
          <p:cNvCxnSpPr/>
          <p:nvPr/>
        </p:nvCxnSpPr>
        <p:spPr>
          <a:xfrm>
            <a:off x="6889721" y="1506807"/>
            <a:ext cx="0" cy="384438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C084B5-B454-4511-8A2B-23E51A8AD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356328EE-6689-40C6-AF1C-13F14F840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211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BCB2B0-E61E-4D8D-81EF-AA2122417D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6A3ED02C-E58C-4037-BAAA-09330B744D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9651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hree Conte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137E3-3D99-41B2-95D7-30814A2169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768E81-5D27-4AC4-9547-762879BE03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9850" y="3428999"/>
            <a:ext cx="3164099" cy="272734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A5F4FD7A-EA9F-4552-B3F6-30AC397A71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821E9E9-FC1A-4B4C-B58D-8D6B71B99AE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13950" y="3428999"/>
            <a:ext cx="3164099" cy="272734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2E066841-377F-4E7E-9967-311FF4F3122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404261" y="3428999"/>
            <a:ext cx="3164099" cy="272734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18">
            <a:extLst>
              <a:ext uri="{FF2B5EF4-FFF2-40B4-BE49-F238E27FC236}">
                <a16:creationId xmlns:a16="http://schemas.microsoft.com/office/drawing/2014/main" id="{6E6B21D5-6327-42AE-B779-8BFB48752B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640" y="2794452"/>
            <a:ext cx="3164099" cy="452856"/>
          </a:xfrm>
        </p:spPr>
        <p:txBody>
          <a:bodyPr>
            <a:normAutofit/>
          </a:bodyPr>
          <a:lstStyle>
            <a:lvl1pPr marL="0" indent="0">
              <a:buNone/>
              <a:defRPr lang="en-US" sz="1400" kern="1200" dirty="0" smtClean="0">
                <a:solidFill>
                  <a:srgbClr val="D82435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134A70D3-B164-4624-9FDB-771BE13F64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13950" y="2794452"/>
            <a:ext cx="3164099" cy="452856"/>
          </a:xfrm>
        </p:spPr>
        <p:txBody>
          <a:bodyPr>
            <a:normAutofit/>
          </a:bodyPr>
          <a:lstStyle>
            <a:lvl1pPr marL="0" indent="0">
              <a:buNone/>
              <a:defRPr lang="en-US" sz="1400" kern="1200" dirty="0" smtClean="0">
                <a:solidFill>
                  <a:srgbClr val="D82435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2268C08B-A65C-43CD-8860-8E985542F6D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99251" y="2794452"/>
            <a:ext cx="3164099" cy="452856"/>
          </a:xfrm>
        </p:spPr>
        <p:txBody>
          <a:bodyPr>
            <a:normAutofit/>
          </a:bodyPr>
          <a:lstStyle>
            <a:lvl1pPr marL="0" indent="0">
              <a:buNone/>
              <a:defRPr lang="en-US" sz="1400" kern="1200" dirty="0" smtClean="0">
                <a:solidFill>
                  <a:srgbClr val="D82435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2035AEC4-1A15-4447-8ED0-8393792BD1C3}"/>
              </a:ext>
            </a:extLst>
          </p:cNvPr>
          <p:cNvGrpSpPr/>
          <p:nvPr/>
        </p:nvGrpSpPr>
        <p:grpSpPr>
          <a:xfrm>
            <a:off x="1780197" y="1584200"/>
            <a:ext cx="850984" cy="862669"/>
            <a:chOff x="16150298" y="1825625"/>
            <a:chExt cx="1373702" cy="1392564"/>
          </a:xfrm>
        </p:grpSpPr>
        <p:sp>
          <p:nvSpPr>
            <p:cNvPr id="42" name="Rounded Rectangle 53">
              <a:extLst>
                <a:ext uri="{FF2B5EF4-FFF2-40B4-BE49-F238E27FC236}">
                  <a16:creationId xmlns:a16="http://schemas.microsoft.com/office/drawing/2014/main" id="{07322244-8CEE-4B1E-8F9C-7A5A7A114700}"/>
                </a:ext>
              </a:extLst>
            </p:cNvPr>
            <p:cNvSpPr/>
            <p:nvPr/>
          </p:nvSpPr>
          <p:spPr>
            <a:xfrm rot="2700000">
              <a:off x="16346364" y="2040553"/>
              <a:ext cx="1177636" cy="1177636"/>
            </a:xfrm>
            <a:prstGeom prst="roundRect">
              <a:avLst>
                <a:gd name="adj" fmla="val 9804"/>
              </a:avLst>
            </a:prstGeom>
            <a:gradFill>
              <a:gsLst>
                <a:gs pos="25000">
                  <a:srgbClr val="D82435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 dirty="0"/>
            </a:p>
          </p:txBody>
        </p:sp>
        <p:sp>
          <p:nvSpPr>
            <p:cNvPr id="43" name="Freeform 54">
              <a:extLst>
                <a:ext uri="{FF2B5EF4-FFF2-40B4-BE49-F238E27FC236}">
                  <a16:creationId xmlns:a16="http://schemas.microsoft.com/office/drawing/2014/main" id="{30E9EBE1-DB77-43D5-971D-492D576FAAED}"/>
                </a:ext>
              </a:extLst>
            </p:cNvPr>
            <p:cNvSpPr/>
            <p:nvPr/>
          </p:nvSpPr>
          <p:spPr>
            <a:xfrm>
              <a:off x="16150298" y="1825625"/>
              <a:ext cx="1263455" cy="1154994"/>
            </a:xfrm>
            <a:custGeom>
              <a:avLst/>
              <a:gdLst>
                <a:gd name="connsiteX0" fmla="*/ 784891 w 1263455"/>
                <a:gd name="connsiteY0" fmla="*/ 0 h 1154994"/>
                <a:gd name="connsiteX1" fmla="*/ 866530 w 1263455"/>
                <a:gd name="connsiteY1" fmla="*/ 33816 h 1154994"/>
                <a:gd name="connsiteX2" fmla="*/ 1263455 w 1263455"/>
                <a:gd name="connsiteY2" fmla="*/ 430740 h 1154994"/>
                <a:gd name="connsiteX3" fmla="*/ 1255671 w 1263455"/>
                <a:gd name="connsiteY3" fmla="*/ 458346 h 1154994"/>
                <a:gd name="connsiteX4" fmla="*/ 430298 w 1263455"/>
                <a:gd name="connsiteY4" fmla="*/ 1139960 h 1154994"/>
                <a:gd name="connsiteX5" fmla="*/ 322280 w 1263455"/>
                <a:gd name="connsiteY5" fmla="*/ 1154994 h 1154994"/>
                <a:gd name="connsiteX6" fmla="*/ 33816 w 1263455"/>
                <a:gd name="connsiteY6" fmla="*/ 866530 h 1154994"/>
                <a:gd name="connsiteX7" fmla="*/ 33816 w 1263455"/>
                <a:gd name="connsiteY7" fmla="*/ 703252 h 1154994"/>
                <a:gd name="connsiteX8" fmla="*/ 703252 w 1263455"/>
                <a:gd name="connsiteY8" fmla="*/ 33816 h 1154994"/>
                <a:gd name="connsiteX9" fmla="*/ 784891 w 1263455"/>
                <a:gd name="connsiteY9" fmla="*/ 0 h 115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3455" h="1154994">
                  <a:moveTo>
                    <a:pt x="784891" y="0"/>
                  </a:moveTo>
                  <a:cubicBezTo>
                    <a:pt x="814439" y="0"/>
                    <a:pt x="843986" y="11272"/>
                    <a:pt x="866530" y="33816"/>
                  </a:cubicBezTo>
                  <a:lnTo>
                    <a:pt x="1263455" y="430740"/>
                  </a:lnTo>
                  <a:lnTo>
                    <a:pt x="1255671" y="458346"/>
                  </a:lnTo>
                  <a:cubicBezTo>
                    <a:pt x="1138321" y="802435"/>
                    <a:pt x="822483" y="1066770"/>
                    <a:pt x="430298" y="1139960"/>
                  </a:cubicBezTo>
                  <a:lnTo>
                    <a:pt x="322280" y="1154994"/>
                  </a:lnTo>
                  <a:lnTo>
                    <a:pt x="33816" y="866530"/>
                  </a:lnTo>
                  <a:cubicBezTo>
                    <a:pt x="-11272" y="821442"/>
                    <a:pt x="-11272" y="748340"/>
                    <a:pt x="33816" y="703252"/>
                  </a:cubicBezTo>
                  <a:lnTo>
                    <a:pt x="703252" y="33816"/>
                  </a:lnTo>
                  <a:cubicBezTo>
                    <a:pt x="725796" y="11272"/>
                    <a:pt x="755344" y="0"/>
                    <a:pt x="784891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689FB85F-C684-4729-A907-23159F823A9D}"/>
              </a:ext>
            </a:extLst>
          </p:cNvPr>
          <p:cNvGrpSpPr/>
          <p:nvPr/>
        </p:nvGrpSpPr>
        <p:grpSpPr>
          <a:xfrm>
            <a:off x="5667658" y="1584200"/>
            <a:ext cx="850984" cy="862669"/>
            <a:chOff x="16150298" y="1825625"/>
            <a:chExt cx="1373702" cy="1392564"/>
          </a:xfrm>
        </p:grpSpPr>
        <p:sp>
          <p:nvSpPr>
            <p:cNvPr id="58" name="Rounded Rectangle 53">
              <a:extLst>
                <a:ext uri="{FF2B5EF4-FFF2-40B4-BE49-F238E27FC236}">
                  <a16:creationId xmlns:a16="http://schemas.microsoft.com/office/drawing/2014/main" id="{52CBBC70-01D5-4336-B6CE-A90CEFF47CA7}"/>
                </a:ext>
              </a:extLst>
            </p:cNvPr>
            <p:cNvSpPr/>
            <p:nvPr/>
          </p:nvSpPr>
          <p:spPr>
            <a:xfrm rot="2700000">
              <a:off x="16346364" y="2040553"/>
              <a:ext cx="1177636" cy="1177636"/>
            </a:xfrm>
            <a:prstGeom prst="roundRect">
              <a:avLst>
                <a:gd name="adj" fmla="val 9804"/>
              </a:avLst>
            </a:prstGeom>
            <a:gradFill>
              <a:gsLst>
                <a:gs pos="25000">
                  <a:srgbClr val="D82435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 dirty="0"/>
            </a:p>
          </p:txBody>
        </p:sp>
        <p:sp>
          <p:nvSpPr>
            <p:cNvPr id="59" name="Freeform 54">
              <a:extLst>
                <a:ext uri="{FF2B5EF4-FFF2-40B4-BE49-F238E27FC236}">
                  <a16:creationId xmlns:a16="http://schemas.microsoft.com/office/drawing/2014/main" id="{E26FD267-1B36-4901-B67C-976BDF3C638E}"/>
                </a:ext>
              </a:extLst>
            </p:cNvPr>
            <p:cNvSpPr/>
            <p:nvPr/>
          </p:nvSpPr>
          <p:spPr>
            <a:xfrm>
              <a:off x="16150298" y="1825625"/>
              <a:ext cx="1263455" cy="1154994"/>
            </a:xfrm>
            <a:custGeom>
              <a:avLst/>
              <a:gdLst>
                <a:gd name="connsiteX0" fmla="*/ 784891 w 1263455"/>
                <a:gd name="connsiteY0" fmla="*/ 0 h 1154994"/>
                <a:gd name="connsiteX1" fmla="*/ 866530 w 1263455"/>
                <a:gd name="connsiteY1" fmla="*/ 33816 h 1154994"/>
                <a:gd name="connsiteX2" fmla="*/ 1263455 w 1263455"/>
                <a:gd name="connsiteY2" fmla="*/ 430740 h 1154994"/>
                <a:gd name="connsiteX3" fmla="*/ 1255671 w 1263455"/>
                <a:gd name="connsiteY3" fmla="*/ 458346 h 1154994"/>
                <a:gd name="connsiteX4" fmla="*/ 430298 w 1263455"/>
                <a:gd name="connsiteY4" fmla="*/ 1139960 h 1154994"/>
                <a:gd name="connsiteX5" fmla="*/ 322280 w 1263455"/>
                <a:gd name="connsiteY5" fmla="*/ 1154994 h 1154994"/>
                <a:gd name="connsiteX6" fmla="*/ 33816 w 1263455"/>
                <a:gd name="connsiteY6" fmla="*/ 866530 h 1154994"/>
                <a:gd name="connsiteX7" fmla="*/ 33816 w 1263455"/>
                <a:gd name="connsiteY7" fmla="*/ 703252 h 1154994"/>
                <a:gd name="connsiteX8" fmla="*/ 703252 w 1263455"/>
                <a:gd name="connsiteY8" fmla="*/ 33816 h 1154994"/>
                <a:gd name="connsiteX9" fmla="*/ 784891 w 1263455"/>
                <a:gd name="connsiteY9" fmla="*/ 0 h 115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3455" h="1154994">
                  <a:moveTo>
                    <a:pt x="784891" y="0"/>
                  </a:moveTo>
                  <a:cubicBezTo>
                    <a:pt x="814439" y="0"/>
                    <a:pt x="843986" y="11272"/>
                    <a:pt x="866530" y="33816"/>
                  </a:cubicBezTo>
                  <a:lnTo>
                    <a:pt x="1263455" y="430740"/>
                  </a:lnTo>
                  <a:lnTo>
                    <a:pt x="1255671" y="458346"/>
                  </a:lnTo>
                  <a:cubicBezTo>
                    <a:pt x="1138321" y="802435"/>
                    <a:pt x="822483" y="1066770"/>
                    <a:pt x="430298" y="1139960"/>
                  </a:cubicBezTo>
                  <a:lnTo>
                    <a:pt x="322280" y="1154994"/>
                  </a:lnTo>
                  <a:lnTo>
                    <a:pt x="33816" y="866530"/>
                  </a:lnTo>
                  <a:cubicBezTo>
                    <a:pt x="-11272" y="821442"/>
                    <a:pt x="-11272" y="748340"/>
                    <a:pt x="33816" y="703252"/>
                  </a:cubicBezTo>
                  <a:lnTo>
                    <a:pt x="703252" y="33816"/>
                  </a:lnTo>
                  <a:cubicBezTo>
                    <a:pt x="725796" y="11272"/>
                    <a:pt x="755344" y="0"/>
                    <a:pt x="784891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04429F9-D8DD-444C-87C1-251D3813E062}"/>
              </a:ext>
            </a:extLst>
          </p:cNvPr>
          <p:cNvGrpSpPr/>
          <p:nvPr/>
        </p:nvGrpSpPr>
        <p:grpSpPr>
          <a:xfrm>
            <a:off x="9399519" y="1584200"/>
            <a:ext cx="850984" cy="862669"/>
            <a:chOff x="16150298" y="1825625"/>
            <a:chExt cx="1373702" cy="1392564"/>
          </a:xfrm>
        </p:grpSpPr>
        <p:sp>
          <p:nvSpPr>
            <p:cNvPr id="63" name="Rounded Rectangle 53">
              <a:extLst>
                <a:ext uri="{FF2B5EF4-FFF2-40B4-BE49-F238E27FC236}">
                  <a16:creationId xmlns:a16="http://schemas.microsoft.com/office/drawing/2014/main" id="{D7C8FA2F-44BF-465A-BEEA-1953428AF209}"/>
                </a:ext>
              </a:extLst>
            </p:cNvPr>
            <p:cNvSpPr/>
            <p:nvPr/>
          </p:nvSpPr>
          <p:spPr>
            <a:xfrm rot="2700000">
              <a:off x="16346364" y="2040553"/>
              <a:ext cx="1177636" cy="1177636"/>
            </a:xfrm>
            <a:prstGeom prst="roundRect">
              <a:avLst>
                <a:gd name="adj" fmla="val 9804"/>
              </a:avLst>
            </a:prstGeom>
            <a:gradFill>
              <a:gsLst>
                <a:gs pos="25000">
                  <a:srgbClr val="D82435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 dirty="0"/>
            </a:p>
          </p:txBody>
        </p:sp>
        <p:sp>
          <p:nvSpPr>
            <p:cNvPr id="64" name="Freeform 54">
              <a:extLst>
                <a:ext uri="{FF2B5EF4-FFF2-40B4-BE49-F238E27FC236}">
                  <a16:creationId xmlns:a16="http://schemas.microsoft.com/office/drawing/2014/main" id="{8AB6CC8F-F38E-4DF4-AE28-7417B1170EA7}"/>
                </a:ext>
              </a:extLst>
            </p:cNvPr>
            <p:cNvSpPr/>
            <p:nvPr/>
          </p:nvSpPr>
          <p:spPr>
            <a:xfrm>
              <a:off x="16150298" y="1825625"/>
              <a:ext cx="1263455" cy="1154994"/>
            </a:xfrm>
            <a:custGeom>
              <a:avLst/>
              <a:gdLst>
                <a:gd name="connsiteX0" fmla="*/ 784891 w 1263455"/>
                <a:gd name="connsiteY0" fmla="*/ 0 h 1154994"/>
                <a:gd name="connsiteX1" fmla="*/ 866530 w 1263455"/>
                <a:gd name="connsiteY1" fmla="*/ 33816 h 1154994"/>
                <a:gd name="connsiteX2" fmla="*/ 1263455 w 1263455"/>
                <a:gd name="connsiteY2" fmla="*/ 430740 h 1154994"/>
                <a:gd name="connsiteX3" fmla="*/ 1255671 w 1263455"/>
                <a:gd name="connsiteY3" fmla="*/ 458346 h 1154994"/>
                <a:gd name="connsiteX4" fmla="*/ 430298 w 1263455"/>
                <a:gd name="connsiteY4" fmla="*/ 1139960 h 1154994"/>
                <a:gd name="connsiteX5" fmla="*/ 322280 w 1263455"/>
                <a:gd name="connsiteY5" fmla="*/ 1154994 h 1154994"/>
                <a:gd name="connsiteX6" fmla="*/ 33816 w 1263455"/>
                <a:gd name="connsiteY6" fmla="*/ 866530 h 1154994"/>
                <a:gd name="connsiteX7" fmla="*/ 33816 w 1263455"/>
                <a:gd name="connsiteY7" fmla="*/ 703252 h 1154994"/>
                <a:gd name="connsiteX8" fmla="*/ 703252 w 1263455"/>
                <a:gd name="connsiteY8" fmla="*/ 33816 h 1154994"/>
                <a:gd name="connsiteX9" fmla="*/ 784891 w 1263455"/>
                <a:gd name="connsiteY9" fmla="*/ 0 h 115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3455" h="1154994">
                  <a:moveTo>
                    <a:pt x="784891" y="0"/>
                  </a:moveTo>
                  <a:cubicBezTo>
                    <a:pt x="814439" y="0"/>
                    <a:pt x="843986" y="11272"/>
                    <a:pt x="866530" y="33816"/>
                  </a:cubicBezTo>
                  <a:lnTo>
                    <a:pt x="1263455" y="430740"/>
                  </a:lnTo>
                  <a:lnTo>
                    <a:pt x="1255671" y="458346"/>
                  </a:lnTo>
                  <a:cubicBezTo>
                    <a:pt x="1138321" y="802435"/>
                    <a:pt x="822483" y="1066770"/>
                    <a:pt x="430298" y="1139960"/>
                  </a:cubicBezTo>
                  <a:lnTo>
                    <a:pt x="322280" y="1154994"/>
                  </a:lnTo>
                  <a:lnTo>
                    <a:pt x="33816" y="866530"/>
                  </a:lnTo>
                  <a:cubicBezTo>
                    <a:pt x="-11272" y="821442"/>
                    <a:pt x="-11272" y="748340"/>
                    <a:pt x="33816" y="703252"/>
                  </a:cubicBezTo>
                  <a:lnTo>
                    <a:pt x="703252" y="33816"/>
                  </a:lnTo>
                  <a:cubicBezTo>
                    <a:pt x="725796" y="11272"/>
                    <a:pt x="755344" y="0"/>
                    <a:pt x="784891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C0390695-5B47-4927-81D3-755FA766F131}"/>
              </a:ext>
            </a:extLst>
          </p:cNvPr>
          <p:cNvSpPr txBox="1"/>
          <p:nvPr/>
        </p:nvSpPr>
        <p:spPr>
          <a:xfrm>
            <a:off x="2053058" y="1950866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FFFF"/>
                </a:solidFill>
              </a:rPr>
              <a:t>Icon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ADCBA33-44FE-4671-AAE9-5263D2C028C1}"/>
              </a:ext>
            </a:extLst>
          </p:cNvPr>
          <p:cNvSpPr txBox="1"/>
          <p:nvPr/>
        </p:nvSpPr>
        <p:spPr>
          <a:xfrm>
            <a:off x="5940519" y="1950866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FFFF"/>
                </a:solidFill>
              </a:rPr>
              <a:t>Icon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A6C3E56-DE7A-407B-9967-BE3D2EDD9BD9}"/>
              </a:ext>
            </a:extLst>
          </p:cNvPr>
          <p:cNvSpPr txBox="1"/>
          <p:nvPr/>
        </p:nvSpPr>
        <p:spPr>
          <a:xfrm>
            <a:off x="9668704" y="1950866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FFFF"/>
                </a:solidFill>
              </a:rPr>
              <a:t>Icon</a:t>
            </a:r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EF44ADA9-27CC-47B3-A7A2-6B669AB3B2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810DFB32-A988-489D-B308-77586B33C7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306579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hree Conte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137E3-3D99-41B2-95D7-30814A216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768E81-5D27-4AC4-9547-762879BE03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9850" y="2245019"/>
            <a:ext cx="3164099" cy="3927181"/>
          </a:xfrm>
        </p:spPr>
        <p:txBody>
          <a:bodyPr>
            <a:normAutofit/>
          </a:bodyPr>
          <a:lstStyle>
            <a:lvl1pPr marL="339725" indent="-228600">
              <a:defRPr sz="1400"/>
            </a:lvl1pPr>
            <a:lvl2pPr marL="339725" indent="-228600">
              <a:defRPr sz="1200"/>
            </a:lvl2pPr>
            <a:lvl3pPr marL="339725" indent="-228600">
              <a:defRPr sz="1100"/>
            </a:lvl3pPr>
            <a:lvl4pPr marL="339725" indent="-228600">
              <a:defRPr sz="1050"/>
            </a:lvl4pPr>
            <a:lvl5pPr marL="339725" indent="-228600"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A5F4FD7A-EA9F-4552-B3F6-30AC397A71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821E9E9-FC1A-4B4C-B58D-8D6B71B99AE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13950" y="2245019"/>
            <a:ext cx="3164099" cy="392718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1400" smtClean="0"/>
            </a:lvl1pPr>
            <a:lvl2pPr>
              <a:defRPr lang="en-US" sz="1200" smtClean="0"/>
            </a:lvl2pPr>
            <a:lvl3pPr>
              <a:defRPr lang="en-US" sz="1100" smtClean="0"/>
            </a:lvl3pPr>
            <a:lvl4pPr>
              <a:defRPr lang="en-US" sz="1050" smtClean="0"/>
            </a:lvl4pPr>
            <a:lvl5pPr>
              <a:defRPr lang="en-US" sz="1050"/>
            </a:lvl5pPr>
          </a:lstStyle>
          <a:p>
            <a:pPr marL="339725" lvl="0"/>
            <a:r>
              <a:rPr lang="en-US"/>
              <a:t>Click to edit Master text styles</a:t>
            </a:r>
          </a:p>
          <a:p>
            <a:pPr marL="339725" lvl="1"/>
            <a:r>
              <a:rPr lang="en-US"/>
              <a:t>Second level</a:t>
            </a:r>
          </a:p>
          <a:p>
            <a:pPr marL="339725" lvl="2"/>
            <a:r>
              <a:rPr lang="en-US"/>
              <a:t>Third level</a:t>
            </a:r>
          </a:p>
          <a:p>
            <a:pPr marL="339725" lvl="3"/>
            <a:r>
              <a:rPr lang="en-US"/>
              <a:t>Fourth level</a:t>
            </a:r>
          </a:p>
          <a:p>
            <a:pPr marL="339725" lvl="4"/>
            <a:r>
              <a:rPr lang="en-US"/>
              <a:t>Fifth level</a:t>
            </a:r>
            <a:endParaRPr lang="en-US" dirty="0"/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2E066841-377F-4E7E-9967-311FF4F3122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404261" y="2245019"/>
            <a:ext cx="3164099" cy="392718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1400" smtClean="0"/>
            </a:lvl1pPr>
            <a:lvl2pPr>
              <a:defRPr lang="en-US" sz="1200" smtClean="0"/>
            </a:lvl2pPr>
            <a:lvl3pPr>
              <a:defRPr lang="en-US" sz="1100" smtClean="0"/>
            </a:lvl3pPr>
            <a:lvl4pPr>
              <a:defRPr lang="en-US" sz="1050" smtClean="0"/>
            </a:lvl4pPr>
            <a:lvl5pPr>
              <a:defRPr lang="en-US" sz="1050"/>
            </a:lvl5pPr>
          </a:lstStyle>
          <a:p>
            <a:pPr marL="339725" lvl="0"/>
            <a:r>
              <a:rPr lang="en-US"/>
              <a:t>Click to edit Master text styles</a:t>
            </a:r>
          </a:p>
          <a:p>
            <a:pPr marL="339725" lvl="1"/>
            <a:r>
              <a:rPr lang="en-US"/>
              <a:t>Second level</a:t>
            </a:r>
          </a:p>
          <a:p>
            <a:pPr marL="339725" lvl="2"/>
            <a:r>
              <a:rPr lang="en-US"/>
              <a:t>Third level</a:t>
            </a:r>
          </a:p>
          <a:p>
            <a:pPr marL="339725" lvl="3"/>
            <a:r>
              <a:rPr lang="en-US"/>
              <a:t>Fourth level</a:t>
            </a:r>
          </a:p>
          <a:p>
            <a:pPr marL="339725"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9663ED81-8D89-4823-9CB9-F1766E91AB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5B15634-FF7A-4B76-AD39-A424EE8144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28741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 Withou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137E3-3D99-41B2-95D7-30814A216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768E81-5D27-4AC4-9547-762879BE03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9850" y="2198670"/>
            <a:ext cx="3164099" cy="39576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A5F4FD7A-EA9F-4552-B3F6-30AC397A71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821E9E9-FC1A-4B4C-B58D-8D6B71B99AE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13950" y="2198670"/>
            <a:ext cx="3164099" cy="39576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2E066841-377F-4E7E-9967-311FF4F3122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404261" y="2198670"/>
            <a:ext cx="3164099" cy="39576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18">
            <a:extLst>
              <a:ext uri="{FF2B5EF4-FFF2-40B4-BE49-F238E27FC236}">
                <a16:creationId xmlns:a16="http://schemas.microsoft.com/office/drawing/2014/main" id="{6E6B21D5-6327-42AE-B779-8BFB48752B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640" y="1605923"/>
            <a:ext cx="3164099" cy="452856"/>
          </a:xfrm>
          <a:solidFill>
            <a:srgbClr val="D82435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lang="en-US" sz="1400" kern="1200" dirty="0" smtClean="0">
                <a:solidFill>
                  <a:srgbClr val="FFFFFF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134A70D3-B164-4624-9FDB-771BE13F64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13950" y="1605923"/>
            <a:ext cx="3164099" cy="452856"/>
          </a:xfrm>
          <a:solidFill>
            <a:srgbClr val="D82435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lang="en-US" sz="1400" kern="1200" dirty="0" smtClean="0">
                <a:solidFill>
                  <a:srgbClr val="FFFFFF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2268C08B-A65C-43CD-8860-8E985542F6D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99251" y="1605923"/>
            <a:ext cx="3164099" cy="452856"/>
          </a:xfrm>
          <a:solidFill>
            <a:srgbClr val="D82435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lang="en-US" sz="1400" kern="1200" dirty="0" smtClean="0">
                <a:solidFill>
                  <a:srgbClr val="FFFFFF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EDF83CB-08BF-4DF8-9C1B-291914C330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9C5044EC-0561-4810-A1A5-D1F08ECABF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2983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hree Content Withou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137E3-3D99-41B2-95D7-30814A216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768E81-5D27-4AC4-9547-762879BE03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9850" y="2198670"/>
            <a:ext cx="5161350" cy="39576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A5F4FD7A-EA9F-4552-B3F6-30AC397A71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821E9E9-FC1A-4B4C-B58D-8D6B71B99AE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366934" y="2198670"/>
            <a:ext cx="5222716" cy="39576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9" name="Text Placeholder 18">
            <a:extLst>
              <a:ext uri="{FF2B5EF4-FFF2-40B4-BE49-F238E27FC236}">
                <a16:creationId xmlns:a16="http://schemas.microsoft.com/office/drawing/2014/main" id="{6E6B21D5-6327-42AE-B779-8BFB48752B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640" y="1605923"/>
            <a:ext cx="5161350" cy="452856"/>
          </a:xfrm>
          <a:solidFill>
            <a:srgbClr val="D82435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lang="en-US" sz="1400" kern="1200" dirty="0" smtClean="0">
                <a:solidFill>
                  <a:srgbClr val="FFFFFF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134A70D3-B164-4624-9FDB-771BE13F64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6934" y="1605923"/>
            <a:ext cx="5222716" cy="452856"/>
          </a:xfrm>
          <a:solidFill>
            <a:srgbClr val="D82435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lang="en-US" sz="1400" kern="1200" dirty="0" smtClean="0">
                <a:solidFill>
                  <a:srgbClr val="FFFFFF"/>
                </a:solidFill>
                <a:latin typeface="Nexa Bold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A413BB3-F7D8-4260-B808-3B3B9388BE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9DDA93E0-D403-4362-A9D0-025D39BF90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7608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20" name="Rectangle 19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734326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/>
          </a:p>
        </p:txBody>
      </p:sp>
      <p:sp>
        <p:nvSpPr>
          <p:cNvPr id="24" name="Isosceles Triangle 23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9"/>
            <a:ext cx="2743200" cy="154799"/>
          </a:xfrm>
        </p:spPr>
        <p:txBody>
          <a:bodyPr tIns="36000" bIns="36000"/>
          <a:lstStyle>
            <a:lvl1pPr rtl="0">
              <a:defRPr sz="700">
                <a:solidFill>
                  <a:srgbClr val="D82435"/>
                </a:solidFill>
              </a:defRPr>
            </a:lvl1pPr>
          </a:lstStyle>
          <a:p>
            <a:fld id="{53A2B9F6-56B0-45B5-86FA-4BD9CCA6E854}" type="datetime1">
              <a:rPr lang="id-ID" smtClean="0"/>
              <a:t>20/08/20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lIns="0" tIns="36000" rIns="0" bIns="36000">
            <a:noAutofit/>
          </a:bodyPr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4034578A-BCA8-4876-AF0A-3D493F00BD23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ACD2C71-09BC-40E8-992E-F53D72637942}"/>
              </a:ext>
            </a:extLst>
          </p:cNvPr>
          <p:cNvSpPr/>
          <p:nvPr/>
        </p:nvSpPr>
        <p:spPr>
          <a:xfrm>
            <a:off x="1304980" y="6674228"/>
            <a:ext cx="92377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900" b="1" dirty="0">
                <a:solidFill>
                  <a:srgbClr val="DC3949"/>
                </a:solidFill>
              </a:rPr>
              <a:t>This document is confidential and any unauthorized use without the permission of Kafaa is prohibited.	</a:t>
            </a:r>
          </a:p>
        </p:txBody>
      </p:sp>
    </p:spTree>
    <p:extLst>
      <p:ext uri="{BB962C8B-B14F-4D97-AF65-F5344CB8AC3E}">
        <p14:creationId xmlns:p14="http://schemas.microsoft.com/office/powerpoint/2010/main" val="209897528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xpla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F66D0B-423C-4F60-8A41-38AB77CCF537}"/>
              </a:ext>
            </a:extLst>
          </p:cNvPr>
          <p:cNvSpPr/>
          <p:nvPr/>
        </p:nvSpPr>
        <p:spPr>
          <a:xfrm>
            <a:off x="-1" y="1841224"/>
            <a:ext cx="6889711" cy="3175550"/>
          </a:xfrm>
          <a:prstGeom prst="rect">
            <a:avLst/>
          </a:prstGeom>
          <a:solidFill>
            <a:schemeClr val="bg1">
              <a:lumMod val="95000"/>
              <a:alpha val="2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801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C62E4-0AFF-4351-939C-57BFEA05B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56565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A43813B-3A95-4FEF-B670-00EE21492575}"/>
              </a:ext>
            </a:extLst>
          </p:cNvPr>
          <p:cNvCxnSpPr/>
          <p:nvPr/>
        </p:nvCxnSpPr>
        <p:spPr>
          <a:xfrm>
            <a:off x="6889721" y="1506807"/>
            <a:ext cx="0" cy="384438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3D20252A-7551-45F7-9B8F-583C860DEE3A}"/>
              </a:ext>
            </a:extLst>
          </p:cNvPr>
          <p:cNvGrpSpPr/>
          <p:nvPr/>
        </p:nvGrpSpPr>
        <p:grpSpPr>
          <a:xfrm>
            <a:off x="7202187" y="1838872"/>
            <a:ext cx="4368818" cy="3180254"/>
            <a:chOff x="7918845" y="1677167"/>
            <a:chExt cx="3501977" cy="292709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D3D9519-45CC-4539-B75A-DB216CCB7CB2}"/>
                </a:ext>
              </a:extLst>
            </p:cNvPr>
            <p:cNvSpPr/>
            <p:nvPr/>
          </p:nvSpPr>
          <p:spPr>
            <a:xfrm>
              <a:off x="7918845" y="2489895"/>
              <a:ext cx="2947038" cy="1016255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ID" sz="1400" dirty="0">
                  <a:solidFill>
                    <a:srgbClr val="565656"/>
                  </a:solidFill>
                  <a:latin typeface="Nexa Light" panose="02000000000000000000" pitchFamily="50" charset="0"/>
                </a:rPr>
                <a:t>Lorem ipsum dolor sit amet, consectetur adipiscing elit. Donec nec sollicitudin est. Proin iaculis purus sed accumsan lacinia. Nullam vel nisl sit amet ex ultricies sagittis. 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B99809D-1F4E-4A11-A02C-EFF40E6FFF51}"/>
                </a:ext>
              </a:extLst>
            </p:cNvPr>
            <p:cNvSpPr/>
            <p:nvPr/>
          </p:nvSpPr>
          <p:spPr>
            <a:xfrm>
              <a:off x="7918845" y="1677167"/>
              <a:ext cx="2947036" cy="609654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da-DK" sz="1801" dirty="0">
                  <a:solidFill>
                    <a:srgbClr val="D82435"/>
                  </a:solidFill>
                  <a:latin typeface="Nexa Bold" panose="02000000000000000000" pitchFamily="50" charset="0"/>
                </a:rPr>
                <a:t>LOREM IPSUM DOLOR SIT AMET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4589976-AD3F-43F2-A204-5014A082DD53}"/>
                </a:ext>
              </a:extLst>
            </p:cNvPr>
            <p:cNvSpPr/>
            <p:nvPr/>
          </p:nvSpPr>
          <p:spPr>
            <a:xfrm>
              <a:off x="8091997" y="3733189"/>
              <a:ext cx="3328825" cy="871076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71454" indent="-171454">
                <a:lnSpc>
                  <a:spcPct val="130000"/>
                </a:lnSpc>
                <a:buClr>
                  <a:srgbClr val="D82435"/>
                </a:buClr>
                <a:buFont typeface="Arial" panose="020B0604020202020204" pitchFamily="34" charset="0"/>
                <a:buChar char="›"/>
              </a:pPr>
              <a:r>
                <a:rPr lang="en-ID" sz="1200" dirty="0">
                  <a:solidFill>
                    <a:srgbClr val="565656"/>
                  </a:solidFill>
                  <a:latin typeface="Nexa Light" panose="02000000000000000000" pitchFamily="50" charset="0"/>
                </a:rPr>
                <a:t>Lorem ipsum dolor sit amet, consectetur</a:t>
              </a:r>
            </a:p>
            <a:p>
              <a:pPr marL="171454" indent="-171454">
                <a:lnSpc>
                  <a:spcPct val="130000"/>
                </a:lnSpc>
                <a:buClr>
                  <a:srgbClr val="D82435"/>
                </a:buClr>
                <a:buFont typeface="Arial" panose="020B0604020202020204" pitchFamily="34" charset="0"/>
                <a:buChar char="›"/>
              </a:pPr>
              <a:r>
                <a:rPr lang="en-ID" sz="1200" dirty="0">
                  <a:solidFill>
                    <a:srgbClr val="565656"/>
                  </a:solidFill>
                  <a:latin typeface="Nexa Light" panose="02000000000000000000" pitchFamily="50" charset="0"/>
                </a:rPr>
                <a:t>Lorem ipsum dolor sit amet, consectetur</a:t>
              </a:r>
            </a:p>
            <a:p>
              <a:pPr marL="171454" indent="-171454">
                <a:lnSpc>
                  <a:spcPct val="130000"/>
                </a:lnSpc>
                <a:buClr>
                  <a:srgbClr val="D82435"/>
                </a:buClr>
                <a:buFont typeface="Arial" panose="020B0604020202020204" pitchFamily="34" charset="0"/>
                <a:buChar char="›"/>
              </a:pPr>
              <a:r>
                <a:rPr lang="en-ID" sz="1200" dirty="0">
                  <a:solidFill>
                    <a:srgbClr val="565656"/>
                  </a:solidFill>
                  <a:latin typeface="Nexa Light" panose="02000000000000000000" pitchFamily="50" charset="0"/>
                </a:rPr>
                <a:t>Lorem ipsum dolor sit amet, consectetur</a:t>
              </a:r>
            </a:p>
            <a:p>
              <a:pPr marL="171454" indent="-171454">
                <a:lnSpc>
                  <a:spcPct val="130000"/>
                </a:lnSpc>
                <a:buClr>
                  <a:srgbClr val="D82435"/>
                </a:buClr>
                <a:buFont typeface="Arial" panose="020B0604020202020204" pitchFamily="34" charset="0"/>
                <a:buChar char="›"/>
              </a:pPr>
              <a:r>
                <a:rPr lang="en-ID" sz="1200" dirty="0">
                  <a:solidFill>
                    <a:srgbClr val="565656"/>
                  </a:solidFill>
                  <a:latin typeface="Nexa Light" panose="02000000000000000000" pitchFamily="50" charset="0"/>
                </a:rPr>
                <a:t>Lorem ipsum dolor sit amet, consectetur</a:t>
              </a:r>
            </a:p>
          </p:txBody>
        </p:sp>
      </p:grp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62484F5-75A5-4513-A8D5-AF0078B83A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5032DBED-C437-4998-B66F-57B4B2ADED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9837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672"/>
          <a:stretch/>
        </p:blipFill>
        <p:spPr>
          <a:xfrm>
            <a:off x="-1" y="-1"/>
            <a:ext cx="10755567" cy="6858001"/>
          </a:xfrm>
          <a:custGeom>
            <a:avLst/>
            <a:gdLst>
              <a:gd name="connsiteX0" fmla="*/ 0 w 10755567"/>
              <a:gd name="connsiteY0" fmla="*/ 0 h 6858000"/>
              <a:gd name="connsiteX1" fmla="*/ 8634330 w 10755567"/>
              <a:gd name="connsiteY1" fmla="*/ 0 h 6858000"/>
              <a:gd name="connsiteX2" fmla="*/ 10284028 w 10755567"/>
              <a:gd name="connsiteY2" fmla="*/ 1653189 h 6858000"/>
              <a:gd name="connsiteX3" fmla="*/ 10284028 w 10755567"/>
              <a:gd name="connsiteY3" fmla="*/ 3934802 h 6858000"/>
              <a:gd name="connsiteX4" fmla="*/ 7367003 w 10755567"/>
              <a:gd name="connsiteY4" fmla="*/ 6858000 h 6858000"/>
              <a:gd name="connsiteX5" fmla="*/ 0 w 10755567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55567" h="6858000">
                <a:moveTo>
                  <a:pt x="0" y="0"/>
                </a:moveTo>
                <a:lnTo>
                  <a:pt x="8634330" y="0"/>
                </a:lnTo>
                <a:lnTo>
                  <a:pt x="10284028" y="1653189"/>
                </a:lnTo>
                <a:cubicBezTo>
                  <a:pt x="10912747" y="2283239"/>
                  <a:pt x="10912747" y="3304752"/>
                  <a:pt x="10284028" y="3934802"/>
                </a:cubicBezTo>
                <a:lnTo>
                  <a:pt x="736700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>
          <a:xfrm>
            <a:off x="0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72000">
                <a:srgbClr val="D82435">
                  <a:alpha val="11000"/>
                </a:srgbClr>
              </a:gs>
              <a:gs pos="13000">
                <a:srgbClr val="D8243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2263" y="5586149"/>
            <a:ext cx="2046606" cy="86970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10860" y="3883937"/>
            <a:ext cx="5537640" cy="919512"/>
          </a:xfrm>
        </p:spPr>
        <p:txBody>
          <a:bodyPr lIns="0" tIns="0" rIns="0" bIns="0" anchor="b">
            <a:normAutofit/>
          </a:bodyPr>
          <a:lstStyle>
            <a:lvl1pPr algn="l"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0860" y="5309150"/>
            <a:ext cx="5537640" cy="2769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d-ID"/>
          </a:p>
        </p:txBody>
      </p:sp>
      <p:cxnSp>
        <p:nvCxnSpPr>
          <p:cNvPr id="18" name="Straight Connector 17"/>
          <p:cNvCxnSpPr/>
          <p:nvPr/>
        </p:nvCxnSpPr>
        <p:spPr>
          <a:xfrm>
            <a:off x="1510860" y="5041836"/>
            <a:ext cx="97790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744889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509157"/>
            <a:ext cx="2743200" cy="154799"/>
          </a:xfrm>
        </p:spPr>
        <p:txBody>
          <a:bodyPr/>
          <a:lstStyle>
            <a:lvl1pPr>
              <a:defRPr sz="1000"/>
            </a:lvl1pPr>
          </a:lstStyle>
          <a:p>
            <a:fld id="{62815B1F-3961-4B93-A33E-F3FF6034BDAB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509157"/>
            <a:ext cx="4114800" cy="154800"/>
          </a:xfrm>
        </p:spPr>
        <p:txBody>
          <a:bodyPr lIns="0" tIns="0" rIns="0" bIns="0" anchor="ctr" anchorCtr="0"/>
          <a:lstStyle>
            <a:lvl1pPr algn="l"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372357"/>
            <a:ext cx="302400" cy="428400"/>
          </a:xfrm>
        </p:spPr>
        <p:txBody>
          <a:bodyPr lIns="0" tIns="0" rIns="0" bIns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734326" y="6751320"/>
            <a:ext cx="415743" cy="10668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734326" y="6269548"/>
            <a:ext cx="102816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24825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47006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509157"/>
            <a:ext cx="2743200" cy="154799"/>
          </a:xfrm>
        </p:spPr>
        <p:txBody>
          <a:bodyPr/>
          <a:lstStyle>
            <a:lvl1pPr>
              <a:defRPr sz="1000"/>
            </a:lvl1pPr>
          </a:lstStyle>
          <a:p>
            <a:fld id="{A2BDE72B-2971-4D89-B251-41C01EC866D4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509157"/>
            <a:ext cx="4114800" cy="154800"/>
          </a:xfrm>
        </p:spPr>
        <p:txBody>
          <a:bodyPr lIns="0" tIns="0" rIns="0" bIns="0" anchor="ctr" anchorCtr="0"/>
          <a:lstStyle>
            <a:lvl1pPr algn="l"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372357"/>
            <a:ext cx="302400" cy="428400"/>
          </a:xfrm>
        </p:spPr>
        <p:txBody>
          <a:bodyPr lIns="0" tIns="0" rIns="0" bIns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734326" y="6751320"/>
            <a:ext cx="415743" cy="10668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734326" y="6269548"/>
            <a:ext cx="102816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330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13" name="Slide Number Placeholder 10"/>
          <p:cNvSpPr txBox="1">
            <a:spLocks/>
          </p:cNvSpPr>
          <p:nvPr/>
        </p:nvSpPr>
        <p:spPr>
          <a:xfrm>
            <a:off x="791332" y="6697844"/>
            <a:ext cx="302400" cy="123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20" name="Rectangle 19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734326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/>
          </a:p>
        </p:txBody>
      </p:sp>
      <p:sp>
        <p:nvSpPr>
          <p:cNvPr id="24" name="Isosceles Triangle 23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9"/>
            <a:ext cx="2743200" cy="154799"/>
          </a:xfrm>
        </p:spPr>
        <p:txBody>
          <a:bodyPr tIns="36000" bIns="36000"/>
          <a:lstStyle>
            <a:lvl1pPr rtl="0">
              <a:defRPr sz="700">
                <a:solidFill>
                  <a:srgbClr val="D82435"/>
                </a:solidFill>
              </a:defRPr>
            </a:lvl1pPr>
          </a:lstStyle>
          <a:p>
            <a:fld id="{C217AD1D-FD31-4FA4-A947-43D45409E8CF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721758"/>
            <a:ext cx="4114800" cy="154800"/>
          </a:xfrm>
        </p:spPr>
        <p:txBody>
          <a:bodyPr lIns="0" tIns="36000" rIns="0" bIns="36000" anchor="ctr" anchorCtr="0"/>
          <a:lstStyle>
            <a:lvl1pPr algn="l" rtl="0">
              <a:defRPr sz="70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lIns="0" tIns="36000" rIns="0" bIns="36000">
            <a:noAutofit/>
          </a:bodyPr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0469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10"/>
          <p:cNvSpPr txBox="1">
            <a:spLocks/>
          </p:cNvSpPr>
          <p:nvPr/>
        </p:nvSpPr>
        <p:spPr>
          <a:xfrm>
            <a:off x="791332" y="6697844"/>
            <a:ext cx="302400" cy="123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1" name="Rectangle 10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734326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/>
          </a:p>
        </p:txBody>
      </p:sp>
      <p:sp>
        <p:nvSpPr>
          <p:cNvPr id="16" name="Isosceles Triangle 15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vert="horz" lIns="0" tIns="36000" rIns="0" bIns="36000" rtlCol="0" anchor="ctr">
            <a:noAutofit/>
          </a:bodyPr>
          <a:lstStyle>
            <a:lvl1pPr algn="ctr">
              <a:defRPr lang="id-ID" sz="700" smtClean="0">
                <a:solidFill>
                  <a:schemeClr val="bg1"/>
                </a:solidFill>
                <a:latin typeface="+mj-lt"/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8"/>
            <a:ext cx="2743200" cy="154799"/>
          </a:xfrm>
        </p:spPr>
        <p:txBody>
          <a:bodyPr vert="horz" lIns="91440" tIns="36000" rIns="91440" bIns="36000" rtlCol="0" anchor="ctr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fld id="{9FD4A43C-C188-4696-B7DC-A54620C18B92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721758"/>
            <a:ext cx="4114800" cy="154800"/>
          </a:xfrm>
        </p:spPr>
        <p:txBody>
          <a:bodyPr vert="horz" lIns="0" tIns="36000" rIns="0" bIns="36000" rtlCol="0" anchor="ctr" anchorCtr="0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526003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31A71235-3D94-BE4C-8C7D-2413AFB66234}"/>
              </a:ext>
            </a:extLst>
          </p:cNvPr>
          <p:cNvSpPr/>
          <p:nvPr/>
        </p:nvSpPr>
        <p:spPr>
          <a:xfrm>
            <a:off x="1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0" name="Slide Number Placeholder 10"/>
          <p:cNvSpPr txBox="1">
            <a:spLocks/>
          </p:cNvSpPr>
          <p:nvPr/>
        </p:nvSpPr>
        <p:spPr>
          <a:xfrm>
            <a:off x="791332" y="6697844"/>
            <a:ext cx="302400" cy="123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1" name="Rectangle 10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734326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/>
          </a:p>
        </p:txBody>
      </p:sp>
      <p:sp>
        <p:nvSpPr>
          <p:cNvPr id="16" name="Isosceles Triangle 15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vert="horz" lIns="0" tIns="36000" rIns="0" bIns="36000" rtlCol="0" anchor="ctr">
            <a:noAutofit/>
          </a:bodyPr>
          <a:lstStyle>
            <a:lvl1pPr algn="ctr">
              <a:defRPr lang="id-ID" sz="700" b="1" i="0" smtClean="0">
                <a:solidFill>
                  <a:schemeClr val="bg1"/>
                </a:solidFill>
                <a:latin typeface="Nexa Bold" panose="02000000000000000000" pitchFamily="2" charset="0"/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8"/>
            <a:ext cx="2743200" cy="154799"/>
          </a:xfrm>
        </p:spPr>
        <p:txBody>
          <a:bodyPr vert="horz" lIns="91440" tIns="36000" rIns="91440" bIns="36000" rtlCol="0" anchor="ctr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fld id="{95236280-4BF6-4AFA-8B7B-C5E3D46AC87B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721758"/>
            <a:ext cx="4114800" cy="154800"/>
          </a:xfrm>
        </p:spPr>
        <p:txBody>
          <a:bodyPr vert="horz" lIns="0" tIns="36000" rIns="0" bIns="36000" rtlCol="0" anchor="ctr" anchorCtr="0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402824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1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8474" y="5715000"/>
            <a:ext cx="2046606" cy="869703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730250" y="2463800"/>
            <a:ext cx="977900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250" y="2708275"/>
            <a:ext cx="8748224" cy="664797"/>
          </a:xfrm>
        </p:spPr>
        <p:txBody>
          <a:bodyPr lIns="0" tIns="0" rIns="0" bIns="0" anchor="t">
            <a:spAutoFit/>
          </a:bodyPr>
          <a:lstStyle>
            <a:lvl1pPr>
              <a:defRPr sz="4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0250" y="3671889"/>
            <a:ext cx="7080250" cy="455611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00">
                <a:solidFill>
                  <a:srgbClr val="D8243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261720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12192000" cy="6858001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D66A4-0858-453C-AE36-024A5B0C870C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0" y="-1"/>
            <a:ext cx="12192000" cy="6858000"/>
            <a:chOff x="0" y="0"/>
            <a:chExt cx="12192000" cy="6858000"/>
          </a:xfrm>
        </p:grpSpPr>
        <p:sp>
          <p:nvSpPr>
            <p:cNvPr id="7" name="Freeform 6"/>
            <p:cNvSpPr/>
            <p:nvPr/>
          </p:nvSpPr>
          <p:spPr>
            <a:xfrm>
              <a:off x="1" y="0"/>
              <a:ext cx="10755567" cy="6858000"/>
            </a:xfrm>
            <a:custGeom>
              <a:avLst/>
              <a:gdLst>
                <a:gd name="connsiteX0" fmla="*/ 0 w 10778328"/>
                <a:gd name="connsiteY0" fmla="*/ 0 h 6858000"/>
                <a:gd name="connsiteX1" fmla="*/ 8652602 w 10778328"/>
                <a:gd name="connsiteY1" fmla="*/ 0 h 6858000"/>
                <a:gd name="connsiteX2" fmla="*/ 10305791 w 10778328"/>
                <a:gd name="connsiteY2" fmla="*/ 1653189 h 6858000"/>
                <a:gd name="connsiteX3" fmla="*/ 10305791 w 10778328"/>
                <a:gd name="connsiteY3" fmla="*/ 3934802 h 6858000"/>
                <a:gd name="connsiteX4" fmla="*/ 7382593 w 10778328"/>
                <a:gd name="connsiteY4" fmla="*/ 6858000 h 6858000"/>
                <a:gd name="connsiteX5" fmla="*/ 0 w 10778328"/>
                <a:gd name="connsiteY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78328" h="6858000">
                  <a:moveTo>
                    <a:pt x="0" y="0"/>
                  </a:moveTo>
                  <a:lnTo>
                    <a:pt x="8652602" y="0"/>
                  </a:lnTo>
                  <a:lnTo>
                    <a:pt x="10305791" y="1653189"/>
                  </a:lnTo>
                  <a:cubicBezTo>
                    <a:pt x="10935841" y="2283239"/>
                    <a:pt x="10935841" y="3304752"/>
                    <a:pt x="10305791" y="3934802"/>
                  </a:cubicBezTo>
                  <a:lnTo>
                    <a:pt x="7382593" y="6858000"/>
                  </a:lnTo>
                  <a:lnTo>
                    <a:pt x="0" y="6858000"/>
                  </a:lnTo>
                  <a:close/>
                </a:path>
              </a:pathLst>
            </a:custGeom>
            <a:gradFill>
              <a:gsLst>
                <a:gs pos="80000">
                  <a:schemeClr val="bg1"/>
                </a:gs>
                <a:gs pos="21000">
                  <a:schemeClr val="bg1">
                    <a:alpha val="44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8" name="Freeform 7"/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>
                <a:gd name="connsiteX0" fmla="*/ 86343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7367004 w 12192000"/>
                <a:gd name="connsiteY3" fmla="*/ 6858000 h 6858000"/>
                <a:gd name="connsiteX4" fmla="*/ 10284029 w 12192000"/>
                <a:gd name="connsiteY4" fmla="*/ 3934802 h 6858000"/>
                <a:gd name="connsiteX5" fmla="*/ 10284029 w 12192000"/>
                <a:gd name="connsiteY5" fmla="*/ 1653189 h 6858000"/>
                <a:gd name="connsiteX6" fmla="*/ 0 w 12192000"/>
                <a:gd name="connsiteY6" fmla="*/ 0 h 6858000"/>
                <a:gd name="connsiteX7" fmla="*/ 1 w 12192000"/>
                <a:gd name="connsiteY7" fmla="*/ 0 h 6858000"/>
                <a:gd name="connsiteX8" fmla="*/ 1 w 12192000"/>
                <a:gd name="connsiteY8" fmla="*/ 6858000 h 6858000"/>
                <a:gd name="connsiteX9" fmla="*/ 0 w 12192000"/>
                <a:gd name="connsiteY9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92000" h="6858000">
                  <a:moveTo>
                    <a:pt x="8634331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7367004" y="6858000"/>
                  </a:lnTo>
                  <a:lnTo>
                    <a:pt x="10284029" y="3934802"/>
                  </a:lnTo>
                  <a:cubicBezTo>
                    <a:pt x="10912748" y="3304752"/>
                    <a:pt x="10912748" y="2283239"/>
                    <a:pt x="10284029" y="1653189"/>
                  </a:cubicBezTo>
                  <a:close/>
                  <a:moveTo>
                    <a:pt x="0" y="0"/>
                  </a:moveTo>
                  <a:lnTo>
                    <a:pt x="1" y="0"/>
                  </a:lnTo>
                  <a:lnTo>
                    <a:pt x="1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72000">
                  <a:srgbClr val="D82435">
                    <a:alpha val="11000"/>
                  </a:srgbClr>
                </a:gs>
                <a:gs pos="13000">
                  <a:srgbClr val="D82435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900" y="664021"/>
            <a:ext cx="2814433" cy="119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9918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7B8D06D0-3D7C-4A29-BDE2-52CFADC0DCF2}"/>
              </a:ext>
            </a:extLst>
          </p:cNvPr>
          <p:cNvSpPr/>
          <p:nvPr/>
        </p:nvSpPr>
        <p:spPr>
          <a:xfrm>
            <a:off x="734660" y="6660456"/>
            <a:ext cx="415743" cy="197544"/>
          </a:xfrm>
          <a:prstGeom prst="round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lide Number Placeholder 10"/>
          <p:cNvSpPr txBox="1">
            <a:spLocks/>
          </p:cNvSpPr>
          <p:nvPr/>
        </p:nvSpPr>
        <p:spPr>
          <a:xfrm>
            <a:off x="791332" y="6697844"/>
            <a:ext cx="302400" cy="123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6" name="Isosceles Triangle 15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vert="horz" lIns="0" tIns="36000" rIns="0" bIns="36000" rtlCol="0" anchor="ctr">
            <a:noAutofit/>
          </a:bodyPr>
          <a:lstStyle>
            <a:lvl1pPr algn="ctr">
              <a:defRPr lang="id-ID" sz="700" smtClean="0">
                <a:solidFill>
                  <a:schemeClr val="bg1"/>
                </a:solidFill>
              </a:defRPr>
            </a:lvl1pPr>
          </a:lstStyle>
          <a:p>
            <a:fld id="{4034578A-BCA8-4876-AF0A-3D493F00BD23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8"/>
            <a:ext cx="2743200" cy="154799"/>
          </a:xfrm>
        </p:spPr>
        <p:txBody>
          <a:bodyPr vert="horz" lIns="91440" tIns="36000" rIns="91440" bIns="36000" rtlCol="0" anchor="ctr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fld id="{DB3482F2-7AAD-4597-80D8-1015FEE65232}" type="datetime1">
              <a:rPr lang="id-ID" smtClean="0"/>
              <a:t>20/0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721758"/>
            <a:ext cx="4114800" cy="154800"/>
          </a:xfrm>
        </p:spPr>
        <p:txBody>
          <a:bodyPr vert="horz" lIns="0" tIns="36000" rIns="0" bIns="36000" rtlCol="0" anchor="ctr" anchorCtr="0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79799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6">
            <a:extLst>
              <a:ext uri="{FF2B5EF4-FFF2-40B4-BE49-F238E27FC236}">
                <a16:creationId xmlns:a16="http://schemas.microsoft.com/office/drawing/2014/main" id="{A9E1E493-8350-430A-877B-88213893A13A}"/>
              </a:ext>
            </a:extLst>
          </p:cNvPr>
          <p:cNvSpPr/>
          <p:nvPr/>
        </p:nvSpPr>
        <p:spPr>
          <a:xfrm>
            <a:off x="16735" y="0"/>
            <a:ext cx="8738898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2A8495-68FC-463B-B919-DBE944FDC4F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6914" y="5841308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B02EE97-7C08-42D0-AC49-C893539184F9}"/>
              </a:ext>
            </a:extLst>
          </p:cNvPr>
          <p:cNvCxnSpPr/>
          <p:nvPr/>
        </p:nvCxnSpPr>
        <p:spPr>
          <a:xfrm>
            <a:off x="275943" y="4164118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1">
            <a:extLst>
              <a:ext uri="{FF2B5EF4-FFF2-40B4-BE49-F238E27FC236}">
                <a16:creationId xmlns:a16="http://schemas.microsoft.com/office/drawing/2014/main" id="{82EEDA8E-A90A-4D44-825A-05C74F95F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461" y="2889205"/>
            <a:ext cx="8196108" cy="512448"/>
          </a:xfrm>
        </p:spPr>
        <p:txBody>
          <a:bodyPr vert="horz" wrap="square" lIns="0" tIns="0" rIns="0" bIns="0" rtlCol="0" anchor="t">
            <a:spAutoFit/>
          </a:bodyPr>
          <a:lstStyle>
            <a:lvl1pPr algn="l" rtl="1">
              <a:defRPr lang="en-US"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ABA04E7-C09E-472D-A5A0-6C553F17BE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8461" y="3654773"/>
            <a:ext cx="7886392" cy="364202"/>
          </a:xfrm>
        </p:spPr>
        <p:txBody>
          <a:bodyPr vert="horz" wrap="square" lIns="0" tIns="0" rIns="0" bIns="0" rtlCol="0">
            <a:spAutoFit/>
          </a:bodyPr>
          <a:lstStyle>
            <a:lvl1pPr marL="0" indent="0" algn="l" rtl="1">
              <a:buNone/>
              <a:defRPr lang="en-US" sz="1800" smtClean="0">
                <a:solidFill>
                  <a:srgbClr val="D82435"/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799778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672"/>
          <a:stretch/>
        </p:blipFill>
        <p:spPr>
          <a:xfrm>
            <a:off x="-1" y="-1"/>
            <a:ext cx="10755567" cy="6858001"/>
          </a:xfrm>
          <a:custGeom>
            <a:avLst/>
            <a:gdLst>
              <a:gd name="connsiteX0" fmla="*/ 0 w 10755567"/>
              <a:gd name="connsiteY0" fmla="*/ 0 h 6858000"/>
              <a:gd name="connsiteX1" fmla="*/ 8634330 w 10755567"/>
              <a:gd name="connsiteY1" fmla="*/ 0 h 6858000"/>
              <a:gd name="connsiteX2" fmla="*/ 10284028 w 10755567"/>
              <a:gd name="connsiteY2" fmla="*/ 1653189 h 6858000"/>
              <a:gd name="connsiteX3" fmla="*/ 10284028 w 10755567"/>
              <a:gd name="connsiteY3" fmla="*/ 3934802 h 6858000"/>
              <a:gd name="connsiteX4" fmla="*/ 7367003 w 10755567"/>
              <a:gd name="connsiteY4" fmla="*/ 6858000 h 6858000"/>
              <a:gd name="connsiteX5" fmla="*/ 0 w 10755567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55567" h="6858000">
                <a:moveTo>
                  <a:pt x="0" y="0"/>
                </a:moveTo>
                <a:lnTo>
                  <a:pt x="8634330" y="0"/>
                </a:lnTo>
                <a:lnTo>
                  <a:pt x="10284028" y="1653189"/>
                </a:lnTo>
                <a:cubicBezTo>
                  <a:pt x="10912747" y="2283239"/>
                  <a:pt x="10912747" y="3304752"/>
                  <a:pt x="10284028" y="3934802"/>
                </a:cubicBezTo>
                <a:lnTo>
                  <a:pt x="736700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>
          <a:xfrm>
            <a:off x="0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72000">
                <a:srgbClr val="D82435">
                  <a:alpha val="11000"/>
                </a:srgbClr>
              </a:gs>
              <a:gs pos="13000">
                <a:srgbClr val="D8243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2263" y="5586149"/>
            <a:ext cx="2046606" cy="86970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10860" y="3883937"/>
            <a:ext cx="5537640" cy="919512"/>
          </a:xfrm>
        </p:spPr>
        <p:txBody>
          <a:bodyPr lIns="0" tIns="0" rIns="0" bIns="0" anchor="b">
            <a:normAutofit/>
          </a:bodyPr>
          <a:lstStyle>
            <a:lvl1pPr algn="l"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0860" y="5309150"/>
            <a:ext cx="5537640" cy="2769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d-ID"/>
          </a:p>
        </p:txBody>
      </p:sp>
      <p:cxnSp>
        <p:nvCxnSpPr>
          <p:cNvPr id="18" name="Straight Connector 17"/>
          <p:cNvCxnSpPr/>
          <p:nvPr/>
        </p:nvCxnSpPr>
        <p:spPr>
          <a:xfrm>
            <a:off x="1510860" y="5041836"/>
            <a:ext cx="97790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956668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509157"/>
            <a:ext cx="2743200" cy="154799"/>
          </a:xfrm>
        </p:spPr>
        <p:txBody>
          <a:bodyPr/>
          <a:lstStyle>
            <a:lvl1pPr>
              <a:defRPr sz="1000"/>
            </a:lvl1pPr>
          </a:lstStyle>
          <a:p>
            <a:fld id="{5AE62AA8-9FFB-4EC4-8DC8-77F57A0C909D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509157"/>
            <a:ext cx="4114800" cy="154800"/>
          </a:xfrm>
        </p:spPr>
        <p:txBody>
          <a:bodyPr lIns="0" tIns="0" rIns="0" bIns="0" anchor="ctr" anchorCtr="0"/>
          <a:lstStyle>
            <a:lvl1pPr algn="l"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372357"/>
            <a:ext cx="302400" cy="428400"/>
          </a:xfrm>
        </p:spPr>
        <p:txBody>
          <a:bodyPr lIns="0" tIns="0" rIns="0" bIns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734326" y="6751320"/>
            <a:ext cx="415743" cy="10668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734326" y="6269548"/>
            <a:ext cx="102816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85397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46689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6323" y="6171942"/>
            <a:ext cx="4659354" cy="686058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509157"/>
            <a:ext cx="2743200" cy="154799"/>
          </a:xfrm>
        </p:spPr>
        <p:txBody>
          <a:bodyPr/>
          <a:lstStyle>
            <a:lvl1pPr>
              <a:defRPr sz="1000"/>
            </a:lvl1pPr>
          </a:lstStyle>
          <a:p>
            <a:fld id="{05B7D0D8-CBC1-431D-A379-EA7D7A8DB2DE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509157"/>
            <a:ext cx="4114800" cy="154800"/>
          </a:xfrm>
        </p:spPr>
        <p:txBody>
          <a:bodyPr lIns="0" tIns="0" rIns="0" bIns="0" anchor="ctr" anchorCtr="0"/>
          <a:lstStyle>
            <a:lvl1pPr algn="l"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372357"/>
            <a:ext cx="302400" cy="428400"/>
          </a:xfrm>
        </p:spPr>
        <p:txBody>
          <a:bodyPr lIns="0" tIns="0" rIns="0" bIns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734326" y="6751320"/>
            <a:ext cx="415743" cy="10668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734326" y="6269548"/>
            <a:ext cx="102816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5932" y="6011542"/>
            <a:ext cx="566387" cy="74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30484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13" name="Slide Number Placeholder 10"/>
          <p:cNvSpPr txBox="1">
            <a:spLocks/>
          </p:cNvSpPr>
          <p:nvPr/>
        </p:nvSpPr>
        <p:spPr>
          <a:xfrm>
            <a:off x="791332" y="6697844"/>
            <a:ext cx="302400" cy="123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20" name="Rectangle 19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734326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/>
          </a:p>
        </p:txBody>
      </p:sp>
      <p:sp>
        <p:nvSpPr>
          <p:cNvPr id="24" name="Isosceles Triangle 23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9"/>
            <a:ext cx="2743200" cy="154799"/>
          </a:xfrm>
        </p:spPr>
        <p:txBody>
          <a:bodyPr tIns="36000" bIns="36000"/>
          <a:lstStyle>
            <a:lvl1pPr rtl="0">
              <a:defRPr sz="700">
                <a:solidFill>
                  <a:srgbClr val="D82435"/>
                </a:solidFill>
              </a:defRPr>
            </a:lvl1pPr>
          </a:lstStyle>
          <a:p>
            <a:fld id="{5301D4EF-5CE6-490F-AC06-1DC10A787929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721758"/>
            <a:ext cx="4114800" cy="154800"/>
          </a:xfrm>
        </p:spPr>
        <p:txBody>
          <a:bodyPr lIns="0" tIns="36000" rIns="0" bIns="36000" anchor="ctr" anchorCtr="0"/>
          <a:lstStyle>
            <a:lvl1pPr algn="l" rtl="0">
              <a:defRPr sz="70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lIns="0" tIns="36000" rIns="0" bIns="36000">
            <a:noAutofit/>
          </a:bodyPr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63614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10"/>
          <p:cNvSpPr txBox="1">
            <a:spLocks/>
          </p:cNvSpPr>
          <p:nvPr/>
        </p:nvSpPr>
        <p:spPr>
          <a:xfrm>
            <a:off x="791332" y="6697844"/>
            <a:ext cx="302400" cy="123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1" name="Rectangle 10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734326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/>
          </a:p>
        </p:txBody>
      </p:sp>
      <p:sp>
        <p:nvSpPr>
          <p:cNvPr id="16" name="Isosceles Triangle 15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vert="horz" lIns="0" tIns="36000" rIns="0" bIns="36000" rtlCol="0" anchor="ctr">
            <a:noAutofit/>
          </a:bodyPr>
          <a:lstStyle>
            <a:lvl1pPr algn="ctr">
              <a:defRPr lang="id-ID" sz="700" smtClean="0">
                <a:solidFill>
                  <a:schemeClr val="bg1"/>
                </a:solidFill>
                <a:latin typeface="+mj-lt"/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8"/>
            <a:ext cx="2743200" cy="154799"/>
          </a:xfrm>
        </p:spPr>
        <p:txBody>
          <a:bodyPr vert="horz" lIns="91440" tIns="36000" rIns="91440" bIns="36000" rtlCol="0" anchor="ctr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fld id="{0F223676-9826-4363-A15A-84407E3F6BE4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721758"/>
            <a:ext cx="4114800" cy="154800"/>
          </a:xfrm>
        </p:spPr>
        <p:txBody>
          <a:bodyPr vert="horz" lIns="0" tIns="36000" rIns="0" bIns="36000" rtlCol="0" anchor="ctr" anchorCtr="0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8015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31A71235-3D94-BE4C-8C7D-2413AFB66234}"/>
              </a:ext>
            </a:extLst>
          </p:cNvPr>
          <p:cNvSpPr/>
          <p:nvPr/>
        </p:nvSpPr>
        <p:spPr>
          <a:xfrm>
            <a:off x="1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0" name="Slide Number Placeholder 10"/>
          <p:cNvSpPr txBox="1">
            <a:spLocks/>
          </p:cNvSpPr>
          <p:nvPr/>
        </p:nvSpPr>
        <p:spPr>
          <a:xfrm>
            <a:off x="791332" y="6697844"/>
            <a:ext cx="302400" cy="123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1" name="Rectangle 10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734326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/>
          </a:p>
        </p:txBody>
      </p:sp>
      <p:sp>
        <p:nvSpPr>
          <p:cNvPr id="16" name="Isosceles Triangle 15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vert="horz" lIns="0" tIns="36000" rIns="0" bIns="36000" rtlCol="0" anchor="ctr">
            <a:noAutofit/>
          </a:bodyPr>
          <a:lstStyle>
            <a:lvl1pPr algn="ctr">
              <a:defRPr lang="id-ID" sz="700" b="1" i="0" smtClean="0">
                <a:solidFill>
                  <a:schemeClr val="bg1"/>
                </a:solidFill>
                <a:latin typeface="Nexa Bold" panose="02000000000000000000" pitchFamily="2" charset="0"/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8"/>
            <a:ext cx="2743200" cy="154799"/>
          </a:xfrm>
        </p:spPr>
        <p:txBody>
          <a:bodyPr vert="horz" lIns="91440" tIns="36000" rIns="91440" bIns="36000" rtlCol="0" anchor="ctr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fld id="{C9363A10-49D0-42DC-BBC7-097EA8983E05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721758"/>
            <a:ext cx="4114800" cy="154800"/>
          </a:xfrm>
        </p:spPr>
        <p:txBody>
          <a:bodyPr vert="horz" lIns="0" tIns="36000" rIns="0" bIns="36000" rtlCol="0" anchor="ctr" anchorCtr="0"/>
          <a:lstStyle>
            <a:lvl1pPr algn="l">
              <a:defRPr lang="id-ID" sz="700" smtClean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0966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1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8474" y="5715000"/>
            <a:ext cx="2046606" cy="869703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730250" y="2463800"/>
            <a:ext cx="977900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250" y="2708275"/>
            <a:ext cx="8748224" cy="664797"/>
          </a:xfrm>
        </p:spPr>
        <p:txBody>
          <a:bodyPr lIns="0" tIns="0" rIns="0" bIns="0" anchor="t">
            <a:spAutoFit/>
          </a:bodyPr>
          <a:lstStyle>
            <a:lvl1pPr>
              <a:defRPr sz="4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0250" y="3671889"/>
            <a:ext cx="7080250" cy="455611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00">
                <a:solidFill>
                  <a:srgbClr val="D8243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85954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12192000" cy="6858001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00A36F-8D68-4C39-85E9-4872573D68B4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0" y="-1"/>
            <a:ext cx="12192000" cy="6858000"/>
            <a:chOff x="0" y="0"/>
            <a:chExt cx="12192000" cy="6858000"/>
          </a:xfrm>
        </p:grpSpPr>
        <p:sp>
          <p:nvSpPr>
            <p:cNvPr id="7" name="Freeform 6"/>
            <p:cNvSpPr/>
            <p:nvPr/>
          </p:nvSpPr>
          <p:spPr>
            <a:xfrm>
              <a:off x="1" y="0"/>
              <a:ext cx="10755567" cy="6858000"/>
            </a:xfrm>
            <a:custGeom>
              <a:avLst/>
              <a:gdLst>
                <a:gd name="connsiteX0" fmla="*/ 0 w 10778328"/>
                <a:gd name="connsiteY0" fmla="*/ 0 h 6858000"/>
                <a:gd name="connsiteX1" fmla="*/ 8652602 w 10778328"/>
                <a:gd name="connsiteY1" fmla="*/ 0 h 6858000"/>
                <a:gd name="connsiteX2" fmla="*/ 10305791 w 10778328"/>
                <a:gd name="connsiteY2" fmla="*/ 1653189 h 6858000"/>
                <a:gd name="connsiteX3" fmla="*/ 10305791 w 10778328"/>
                <a:gd name="connsiteY3" fmla="*/ 3934802 h 6858000"/>
                <a:gd name="connsiteX4" fmla="*/ 7382593 w 10778328"/>
                <a:gd name="connsiteY4" fmla="*/ 6858000 h 6858000"/>
                <a:gd name="connsiteX5" fmla="*/ 0 w 10778328"/>
                <a:gd name="connsiteY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78328" h="6858000">
                  <a:moveTo>
                    <a:pt x="0" y="0"/>
                  </a:moveTo>
                  <a:lnTo>
                    <a:pt x="8652602" y="0"/>
                  </a:lnTo>
                  <a:lnTo>
                    <a:pt x="10305791" y="1653189"/>
                  </a:lnTo>
                  <a:cubicBezTo>
                    <a:pt x="10935841" y="2283239"/>
                    <a:pt x="10935841" y="3304752"/>
                    <a:pt x="10305791" y="3934802"/>
                  </a:cubicBezTo>
                  <a:lnTo>
                    <a:pt x="7382593" y="6858000"/>
                  </a:lnTo>
                  <a:lnTo>
                    <a:pt x="0" y="6858000"/>
                  </a:lnTo>
                  <a:close/>
                </a:path>
              </a:pathLst>
            </a:custGeom>
            <a:gradFill>
              <a:gsLst>
                <a:gs pos="80000">
                  <a:schemeClr val="bg1"/>
                </a:gs>
                <a:gs pos="21000">
                  <a:schemeClr val="bg1">
                    <a:alpha val="44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8" name="Freeform 7"/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>
                <a:gd name="connsiteX0" fmla="*/ 86343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7367004 w 12192000"/>
                <a:gd name="connsiteY3" fmla="*/ 6858000 h 6858000"/>
                <a:gd name="connsiteX4" fmla="*/ 10284029 w 12192000"/>
                <a:gd name="connsiteY4" fmla="*/ 3934802 h 6858000"/>
                <a:gd name="connsiteX5" fmla="*/ 10284029 w 12192000"/>
                <a:gd name="connsiteY5" fmla="*/ 1653189 h 6858000"/>
                <a:gd name="connsiteX6" fmla="*/ 0 w 12192000"/>
                <a:gd name="connsiteY6" fmla="*/ 0 h 6858000"/>
                <a:gd name="connsiteX7" fmla="*/ 1 w 12192000"/>
                <a:gd name="connsiteY7" fmla="*/ 0 h 6858000"/>
                <a:gd name="connsiteX8" fmla="*/ 1 w 12192000"/>
                <a:gd name="connsiteY8" fmla="*/ 6858000 h 6858000"/>
                <a:gd name="connsiteX9" fmla="*/ 0 w 12192000"/>
                <a:gd name="connsiteY9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92000" h="6858000">
                  <a:moveTo>
                    <a:pt x="8634331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7367004" y="6858000"/>
                  </a:lnTo>
                  <a:lnTo>
                    <a:pt x="10284029" y="3934802"/>
                  </a:lnTo>
                  <a:cubicBezTo>
                    <a:pt x="10912748" y="3304752"/>
                    <a:pt x="10912748" y="2283239"/>
                    <a:pt x="10284029" y="1653189"/>
                  </a:cubicBezTo>
                  <a:close/>
                  <a:moveTo>
                    <a:pt x="0" y="0"/>
                  </a:moveTo>
                  <a:lnTo>
                    <a:pt x="1" y="0"/>
                  </a:lnTo>
                  <a:lnTo>
                    <a:pt x="1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72000">
                  <a:srgbClr val="D82435">
                    <a:alpha val="11000"/>
                  </a:srgbClr>
                </a:gs>
                <a:gs pos="13000">
                  <a:srgbClr val="D82435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900" y="664021"/>
            <a:ext cx="2814433" cy="119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6117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1" y="0"/>
            <a:ext cx="1075556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8474" y="5715000"/>
            <a:ext cx="2046606" cy="869703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730250" y="2463800"/>
            <a:ext cx="977900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250" y="2708275"/>
            <a:ext cx="8748224" cy="664797"/>
          </a:xfrm>
        </p:spPr>
        <p:txBody>
          <a:bodyPr lIns="0" tIns="0" rIns="0" bIns="0" anchor="t">
            <a:spAutoFit/>
          </a:bodyPr>
          <a:lstStyle>
            <a:lvl1pPr>
              <a:defRPr sz="4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0250" y="3671889"/>
            <a:ext cx="7080250" cy="455611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00">
                <a:solidFill>
                  <a:srgbClr val="D8243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153218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56228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6">
            <a:extLst>
              <a:ext uri="{FF2B5EF4-FFF2-40B4-BE49-F238E27FC236}">
                <a16:creationId xmlns:a16="http://schemas.microsoft.com/office/drawing/2014/main" id="{A9E1E493-8350-430A-877B-88213893A13A}"/>
              </a:ext>
            </a:extLst>
          </p:cNvPr>
          <p:cNvSpPr/>
          <p:nvPr/>
        </p:nvSpPr>
        <p:spPr>
          <a:xfrm>
            <a:off x="16735" y="0"/>
            <a:ext cx="8738898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2A8495-68FC-463B-B919-DBE944FDC4F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6914" y="5841308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B02EE97-7C08-42D0-AC49-C893539184F9}"/>
              </a:ext>
            </a:extLst>
          </p:cNvPr>
          <p:cNvCxnSpPr/>
          <p:nvPr/>
        </p:nvCxnSpPr>
        <p:spPr>
          <a:xfrm>
            <a:off x="275943" y="4164118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1">
            <a:extLst>
              <a:ext uri="{FF2B5EF4-FFF2-40B4-BE49-F238E27FC236}">
                <a16:creationId xmlns:a16="http://schemas.microsoft.com/office/drawing/2014/main" id="{82EEDA8E-A90A-4D44-825A-05C74F95F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461" y="2889205"/>
            <a:ext cx="8196108" cy="512448"/>
          </a:xfrm>
        </p:spPr>
        <p:txBody>
          <a:bodyPr vert="horz" wrap="square" lIns="0" tIns="0" rIns="0" bIns="0" rtlCol="0" anchor="t">
            <a:spAutoFit/>
          </a:bodyPr>
          <a:lstStyle>
            <a:lvl1pPr algn="l" rtl="1">
              <a:defRPr lang="en-US"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ABA04E7-C09E-472D-A5A0-6C553F17BE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8461" y="3654773"/>
            <a:ext cx="7886392" cy="364202"/>
          </a:xfrm>
        </p:spPr>
        <p:txBody>
          <a:bodyPr vert="horz" wrap="square" lIns="0" tIns="0" rIns="0" bIns="0" rtlCol="0">
            <a:spAutoFit/>
          </a:bodyPr>
          <a:lstStyle>
            <a:lvl1pPr marL="0" indent="0" algn="l" rtl="1">
              <a:buNone/>
              <a:defRPr lang="en-US" sz="1800" smtClean="0">
                <a:solidFill>
                  <a:srgbClr val="D82435"/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883197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_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BCA03C-12FE-40A5-B9ED-38586D724B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881562" y="6356350"/>
            <a:ext cx="2743200" cy="365125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fld id="{02826962-7E00-4740-9F18-BBFAA8C230FB}" type="datetime1">
              <a:rPr lang="id-ID" smtClean="0"/>
              <a:t>20/08/2025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F3D11F1-1028-4CBF-BA8D-72D096D00C6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3448549" y="-2"/>
            <a:ext cx="8738898" cy="6858000"/>
          </a:xfrm>
          <a:custGeom>
            <a:avLst/>
            <a:gdLst>
              <a:gd name="connsiteX0" fmla="*/ 0 w 8738898"/>
              <a:gd name="connsiteY0" fmla="*/ 0 h 6858000"/>
              <a:gd name="connsiteX1" fmla="*/ 7015393 w 8738898"/>
              <a:gd name="connsiteY1" fmla="*/ 0 h 6858000"/>
              <a:gd name="connsiteX2" fmla="*/ 8355773 w 8738898"/>
              <a:gd name="connsiteY2" fmla="*/ 1653189 h 6858000"/>
              <a:gd name="connsiteX3" fmla="*/ 8355773 w 8738898"/>
              <a:gd name="connsiteY3" fmla="*/ 3934802 h 6858000"/>
              <a:gd name="connsiteX4" fmla="*/ 5985690 w 8738898"/>
              <a:gd name="connsiteY4" fmla="*/ 6858000 h 6858000"/>
              <a:gd name="connsiteX5" fmla="*/ 0 w 873889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38898" h="6858000">
                <a:moveTo>
                  <a:pt x="0" y="0"/>
                </a:moveTo>
                <a:lnTo>
                  <a:pt x="7015393" y="0"/>
                </a:lnTo>
                <a:lnTo>
                  <a:pt x="8355773" y="1653189"/>
                </a:lnTo>
                <a:cubicBezTo>
                  <a:pt x="8866607" y="2283239"/>
                  <a:pt x="8866607" y="3304752"/>
                  <a:pt x="8355773" y="3934802"/>
                </a:cubicBezTo>
                <a:lnTo>
                  <a:pt x="5985690" y="6858000"/>
                </a:lnTo>
                <a:lnTo>
                  <a:pt x="0" y="6858000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9" name="Freeform 7">
            <a:extLst>
              <a:ext uri="{FF2B5EF4-FFF2-40B4-BE49-F238E27FC236}">
                <a16:creationId xmlns:a16="http://schemas.microsoft.com/office/drawing/2014/main" id="{AF9512CB-441F-4B5E-A0FE-7FF7F37BB36D}"/>
              </a:ext>
            </a:extLst>
          </p:cNvPr>
          <p:cNvSpPr/>
          <p:nvPr/>
        </p:nvSpPr>
        <p:spPr>
          <a:xfrm flipH="1">
            <a:off x="3448549" y="0"/>
            <a:ext cx="8738898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72000">
                <a:srgbClr val="D82435">
                  <a:alpha val="11000"/>
                </a:srgbClr>
              </a:gs>
              <a:gs pos="13000">
                <a:srgbClr val="D8243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CEF01BE-9E42-4FE5-9487-09C60C3184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620" y="5841308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0ED1571-09CD-4BAD-9843-28D6F1C4DDFE}"/>
              </a:ext>
            </a:extLst>
          </p:cNvPr>
          <p:cNvCxnSpPr/>
          <p:nvPr/>
        </p:nvCxnSpPr>
        <p:spPr>
          <a:xfrm>
            <a:off x="10565140" y="4164118"/>
            <a:ext cx="794544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DA3CF038-BE9C-4CEC-9473-D8B819549F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50115" y="3207400"/>
            <a:ext cx="7261106" cy="886397"/>
          </a:xfrm>
        </p:spPr>
        <p:txBody>
          <a:bodyPr vert="horz" wrap="square" lIns="0" tIns="0" rIns="0" bIns="0" rtlCol="0" anchor="ctr">
            <a:spAutoFit/>
          </a:bodyPr>
          <a:lstStyle>
            <a:lvl1pPr algn="r" rtl="1">
              <a:defRPr lang="en-US" sz="3200" dirty="0">
                <a:solidFill>
                  <a:schemeClr val="bg1"/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D5A7A42-02BD-478F-A339-9EF1ABDE7D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98688" y="4456039"/>
            <a:ext cx="4112533" cy="923330"/>
          </a:xfrm>
        </p:spPr>
        <p:txBody>
          <a:bodyPr vert="horz" wrap="square" lIns="0" tIns="0" rIns="0" bIns="0" rtlCol="0">
            <a:spAutoFit/>
          </a:bodyPr>
          <a:lstStyle>
            <a:lvl1pPr marL="0" indent="0" algn="r" rtl="1">
              <a:buNone/>
              <a:defRPr lang="en-US" sz="2000" dirty="0">
                <a:solidFill>
                  <a:schemeClr val="bg1"/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5F20BA5-BA09-4744-A5C4-E7000B8EE2C0}"/>
              </a:ext>
            </a:extLst>
          </p:cNvPr>
          <p:cNvSpPr txBox="1">
            <a:spLocks/>
          </p:cNvSpPr>
          <p:nvPr/>
        </p:nvSpPr>
        <p:spPr>
          <a:xfrm>
            <a:off x="6394620" y="6391866"/>
            <a:ext cx="5657852" cy="172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 rtl="1"/>
            <a:r>
              <a:rPr lang="en-GB" dirty="0">
                <a:solidFill>
                  <a:prstClr val="white"/>
                </a:solidFill>
                <a:ea typeface="Helvetica Neue" charset="0"/>
                <a:cs typeface="Helvetica Neue" charset="0"/>
              </a:rPr>
              <a:t>This document is confidential and any unauthorized use without the permission of Kafa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2958144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888">
          <p15:clr>
            <a:srgbClr val="FBAE40"/>
          </p15:clr>
        </p15:guide>
        <p15:guide id="4" orient="horz" pos="2260">
          <p15:clr>
            <a:srgbClr val="FBAE40"/>
          </p15:clr>
        </p15:guide>
        <p15:guide id="5" pos="168">
          <p15:clr>
            <a:srgbClr val="FBAE40"/>
          </p15:clr>
        </p15:guide>
        <p15:guide id="6" pos="7512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1CF7ECE-168F-4A1D-891E-5479314AA79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2A8495-68FC-463B-B919-DBE944FDC4F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055" y="6109144"/>
            <a:ext cx="1073080" cy="45540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8C90FB-41A3-4D31-A98A-54BD8CDC5ECA}"/>
              </a:ext>
            </a:extLst>
          </p:cNvPr>
          <p:cNvCxnSpPr/>
          <p:nvPr/>
        </p:nvCxnSpPr>
        <p:spPr>
          <a:xfrm>
            <a:off x="10528185" y="4158152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ooter Placeholder 4">
            <a:extLst>
              <a:ext uri="{FF2B5EF4-FFF2-40B4-BE49-F238E27FC236}">
                <a16:creationId xmlns:a16="http://schemas.microsoft.com/office/drawing/2014/main" id="{05391945-27E2-403F-A98A-D65B2D2D2560}"/>
              </a:ext>
            </a:extLst>
          </p:cNvPr>
          <p:cNvSpPr txBox="1">
            <a:spLocks/>
          </p:cNvSpPr>
          <p:nvPr/>
        </p:nvSpPr>
        <p:spPr>
          <a:xfrm>
            <a:off x="236881" y="319088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CONFIDINTIAL</a:t>
            </a:r>
          </a:p>
        </p:txBody>
      </p:sp>
    </p:spTree>
    <p:extLst>
      <p:ext uri="{BB962C8B-B14F-4D97-AF65-F5344CB8AC3E}">
        <p14:creationId xmlns:p14="http://schemas.microsoft.com/office/powerpoint/2010/main" val="31488519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1CF7ECE-168F-4A1D-891E-5479314AA79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3B88249-034E-4263-B3AA-175A5A181DC1}"/>
              </a:ext>
            </a:extLst>
          </p:cNvPr>
          <p:cNvSpPr/>
          <p:nvPr/>
        </p:nvSpPr>
        <p:spPr>
          <a:xfrm>
            <a:off x="3892658" y="204900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3F560F9-70FC-4980-9E87-639680B54FAC}"/>
              </a:ext>
            </a:extLst>
          </p:cNvPr>
          <p:cNvCxnSpPr>
            <a:cxnSpLocks/>
          </p:cNvCxnSpPr>
          <p:nvPr/>
        </p:nvCxnSpPr>
        <p:spPr>
          <a:xfrm flipV="1">
            <a:off x="6289729" y="337807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1471D17F-0F1F-4BDC-AF2B-0CEA53388D48}"/>
              </a:ext>
            </a:extLst>
          </p:cNvPr>
          <p:cNvSpPr/>
          <p:nvPr/>
        </p:nvSpPr>
        <p:spPr>
          <a:xfrm flipH="1">
            <a:off x="3181600" y="128270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1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AC0DB41-25E3-4D72-8E13-57268B3BD14A}"/>
              </a:ext>
            </a:extLst>
          </p:cNvPr>
          <p:cNvSpPr/>
          <p:nvPr/>
        </p:nvSpPr>
        <p:spPr>
          <a:xfrm>
            <a:off x="8202827" y="204900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02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A2BA25E-0EBA-4780-B760-C6E721831CAE}"/>
              </a:ext>
            </a:extLst>
          </p:cNvPr>
          <p:cNvSpPr/>
          <p:nvPr/>
        </p:nvSpPr>
        <p:spPr>
          <a:xfrm>
            <a:off x="3892658" y="933494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B94C1CB-357C-47F9-B590-5F1BF5DA160C}"/>
              </a:ext>
            </a:extLst>
          </p:cNvPr>
          <p:cNvCxnSpPr>
            <a:cxnSpLocks/>
          </p:cNvCxnSpPr>
          <p:nvPr/>
        </p:nvCxnSpPr>
        <p:spPr>
          <a:xfrm flipV="1">
            <a:off x="6289729" y="1066401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id="{DFD15B59-1555-40DE-B6DE-446AE39D9C3E}"/>
              </a:ext>
            </a:extLst>
          </p:cNvPr>
          <p:cNvSpPr/>
          <p:nvPr/>
        </p:nvSpPr>
        <p:spPr>
          <a:xfrm flipH="1">
            <a:off x="3181600" y="856864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2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906D322-1B2D-4A6C-8044-24426E441F6F}"/>
              </a:ext>
            </a:extLst>
          </p:cNvPr>
          <p:cNvSpPr/>
          <p:nvPr/>
        </p:nvSpPr>
        <p:spPr>
          <a:xfrm>
            <a:off x="8202827" y="933494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09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75393E7-386B-4C0B-B826-FDA74970868C}"/>
              </a:ext>
            </a:extLst>
          </p:cNvPr>
          <p:cNvSpPr/>
          <p:nvPr/>
        </p:nvSpPr>
        <p:spPr>
          <a:xfrm>
            <a:off x="3892658" y="1738718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CC803F9-B113-41D6-97B2-23D14AAD09CE}"/>
              </a:ext>
            </a:extLst>
          </p:cNvPr>
          <p:cNvCxnSpPr>
            <a:cxnSpLocks/>
          </p:cNvCxnSpPr>
          <p:nvPr/>
        </p:nvCxnSpPr>
        <p:spPr>
          <a:xfrm flipV="1">
            <a:off x="6289729" y="1871625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AACB8F17-1054-4472-BA39-BDF142CA2935}"/>
              </a:ext>
            </a:extLst>
          </p:cNvPr>
          <p:cNvSpPr/>
          <p:nvPr/>
        </p:nvSpPr>
        <p:spPr>
          <a:xfrm flipH="1">
            <a:off x="3181600" y="1662088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3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B3635AC-764D-4DDA-8700-61E5703AD807}"/>
              </a:ext>
            </a:extLst>
          </p:cNvPr>
          <p:cNvSpPr/>
          <p:nvPr/>
        </p:nvSpPr>
        <p:spPr>
          <a:xfrm>
            <a:off x="8202827" y="1738718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10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AC8D26E-7435-4384-88FB-EA0C3DD3B3E6}"/>
              </a:ext>
            </a:extLst>
          </p:cNvPr>
          <p:cNvSpPr/>
          <p:nvPr/>
        </p:nvSpPr>
        <p:spPr>
          <a:xfrm>
            <a:off x="3892658" y="2541557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C9E4BEE1-B026-44DC-9994-CE8C1BD82331}"/>
              </a:ext>
            </a:extLst>
          </p:cNvPr>
          <p:cNvCxnSpPr>
            <a:cxnSpLocks/>
          </p:cNvCxnSpPr>
          <p:nvPr/>
        </p:nvCxnSpPr>
        <p:spPr>
          <a:xfrm flipV="1">
            <a:off x="6289729" y="2674464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65E04E8C-699C-4A3F-9609-CADEBAD36BE5}"/>
              </a:ext>
            </a:extLst>
          </p:cNvPr>
          <p:cNvSpPr/>
          <p:nvPr/>
        </p:nvSpPr>
        <p:spPr>
          <a:xfrm flipH="1">
            <a:off x="3181600" y="2464927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4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432525C1-0231-4C6D-9158-19373526434A}"/>
              </a:ext>
            </a:extLst>
          </p:cNvPr>
          <p:cNvSpPr/>
          <p:nvPr/>
        </p:nvSpPr>
        <p:spPr>
          <a:xfrm>
            <a:off x="8202827" y="2542505"/>
            <a:ext cx="320996" cy="26391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15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DD384EA-96D8-4D2C-ADCD-1C760E727635}"/>
              </a:ext>
            </a:extLst>
          </p:cNvPr>
          <p:cNvSpPr/>
          <p:nvPr/>
        </p:nvSpPr>
        <p:spPr>
          <a:xfrm>
            <a:off x="3892658" y="3344396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3E73B1CF-DFD0-49F9-B3CC-71D272219113}"/>
              </a:ext>
            </a:extLst>
          </p:cNvPr>
          <p:cNvCxnSpPr>
            <a:cxnSpLocks/>
          </p:cNvCxnSpPr>
          <p:nvPr/>
        </p:nvCxnSpPr>
        <p:spPr>
          <a:xfrm flipV="1">
            <a:off x="6289729" y="3477303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Oval 76">
            <a:extLst>
              <a:ext uri="{FF2B5EF4-FFF2-40B4-BE49-F238E27FC236}">
                <a16:creationId xmlns:a16="http://schemas.microsoft.com/office/drawing/2014/main" id="{2C0AE610-9574-4080-9A8F-B0CFC95D72F6}"/>
              </a:ext>
            </a:extLst>
          </p:cNvPr>
          <p:cNvSpPr/>
          <p:nvPr/>
        </p:nvSpPr>
        <p:spPr>
          <a:xfrm flipH="1">
            <a:off x="3181600" y="3267766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5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A867231-D8B2-4237-AF87-3DFBBB52A0CC}"/>
              </a:ext>
            </a:extLst>
          </p:cNvPr>
          <p:cNvSpPr/>
          <p:nvPr/>
        </p:nvSpPr>
        <p:spPr>
          <a:xfrm>
            <a:off x="8202827" y="3344396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20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90E03B71-463D-4439-A221-DFE09A29633D}"/>
              </a:ext>
            </a:extLst>
          </p:cNvPr>
          <p:cNvCxnSpPr/>
          <p:nvPr/>
        </p:nvCxnSpPr>
        <p:spPr>
          <a:xfrm>
            <a:off x="606753" y="4158152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itle 1">
            <a:extLst>
              <a:ext uri="{FF2B5EF4-FFF2-40B4-BE49-F238E27FC236}">
                <a16:creationId xmlns:a16="http://schemas.microsoft.com/office/drawing/2014/main" id="{72554050-8939-4582-96BF-449BEF10488C}"/>
              </a:ext>
            </a:extLst>
          </p:cNvPr>
          <p:cNvSpPr txBox="1">
            <a:spLocks/>
          </p:cNvSpPr>
          <p:nvPr/>
        </p:nvSpPr>
        <p:spPr>
          <a:xfrm>
            <a:off x="551738" y="3442527"/>
            <a:ext cx="1783689" cy="4555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200"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18A248D3-96FE-41CA-831F-67FB2678AAA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220" y="6109144"/>
            <a:ext cx="1073080" cy="455405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907BF56A-F40E-488F-818B-E13AA8A87343}"/>
              </a:ext>
            </a:extLst>
          </p:cNvPr>
          <p:cNvSpPr txBox="1">
            <a:spLocks/>
          </p:cNvSpPr>
          <p:nvPr/>
        </p:nvSpPr>
        <p:spPr>
          <a:xfrm>
            <a:off x="11295586" y="319088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CONFIDINTIAL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3B88249-034E-4263-B3AA-175A5A181DC1}"/>
              </a:ext>
            </a:extLst>
          </p:cNvPr>
          <p:cNvSpPr/>
          <p:nvPr/>
        </p:nvSpPr>
        <p:spPr>
          <a:xfrm>
            <a:off x="3892658" y="4094984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3F560F9-70FC-4980-9E87-639680B54FAC}"/>
              </a:ext>
            </a:extLst>
          </p:cNvPr>
          <p:cNvCxnSpPr>
            <a:cxnSpLocks/>
          </p:cNvCxnSpPr>
          <p:nvPr/>
        </p:nvCxnSpPr>
        <p:spPr>
          <a:xfrm flipV="1">
            <a:off x="6289729" y="4227891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1471D17F-0F1F-4BDC-AF2B-0CEA53388D48}"/>
              </a:ext>
            </a:extLst>
          </p:cNvPr>
          <p:cNvSpPr/>
          <p:nvPr/>
        </p:nvSpPr>
        <p:spPr>
          <a:xfrm flipH="1">
            <a:off x="3181600" y="4018354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1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AC0DB41-25E3-4D72-8E13-57268B3BD14A}"/>
              </a:ext>
            </a:extLst>
          </p:cNvPr>
          <p:cNvSpPr/>
          <p:nvPr/>
        </p:nvSpPr>
        <p:spPr>
          <a:xfrm>
            <a:off x="8202827" y="4094984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02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A2BA25E-0EBA-4780-B760-C6E721831CAE}"/>
              </a:ext>
            </a:extLst>
          </p:cNvPr>
          <p:cNvSpPr/>
          <p:nvPr/>
        </p:nvSpPr>
        <p:spPr>
          <a:xfrm>
            <a:off x="3892658" y="4823578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B94C1CB-357C-47F9-B590-5F1BF5DA160C}"/>
              </a:ext>
            </a:extLst>
          </p:cNvPr>
          <p:cNvCxnSpPr>
            <a:cxnSpLocks/>
          </p:cNvCxnSpPr>
          <p:nvPr/>
        </p:nvCxnSpPr>
        <p:spPr>
          <a:xfrm flipV="1">
            <a:off x="6289729" y="4956485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>
            <a:extLst>
              <a:ext uri="{FF2B5EF4-FFF2-40B4-BE49-F238E27FC236}">
                <a16:creationId xmlns:a16="http://schemas.microsoft.com/office/drawing/2014/main" id="{DFD15B59-1555-40DE-B6DE-446AE39D9C3E}"/>
              </a:ext>
            </a:extLst>
          </p:cNvPr>
          <p:cNvSpPr/>
          <p:nvPr/>
        </p:nvSpPr>
        <p:spPr>
          <a:xfrm flipH="1">
            <a:off x="3181600" y="4746948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2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906D322-1B2D-4A6C-8044-24426E441F6F}"/>
              </a:ext>
            </a:extLst>
          </p:cNvPr>
          <p:cNvSpPr/>
          <p:nvPr/>
        </p:nvSpPr>
        <p:spPr>
          <a:xfrm>
            <a:off x="8202827" y="4823578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09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75393E7-386B-4C0B-B826-FDA74970868C}"/>
              </a:ext>
            </a:extLst>
          </p:cNvPr>
          <p:cNvSpPr/>
          <p:nvPr/>
        </p:nvSpPr>
        <p:spPr>
          <a:xfrm>
            <a:off x="3892658" y="5628802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6CC803F9-B113-41D6-97B2-23D14AAD09CE}"/>
              </a:ext>
            </a:extLst>
          </p:cNvPr>
          <p:cNvCxnSpPr>
            <a:cxnSpLocks/>
          </p:cNvCxnSpPr>
          <p:nvPr/>
        </p:nvCxnSpPr>
        <p:spPr>
          <a:xfrm flipV="1">
            <a:off x="6289729" y="5761709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val 38">
            <a:extLst>
              <a:ext uri="{FF2B5EF4-FFF2-40B4-BE49-F238E27FC236}">
                <a16:creationId xmlns:a16="http://schemas.microsoft.com/office/drawing/2014/main" id="{AACB8F17-1054-4472-BA39-BDF142CA2935}"/>
              </a:ext>
            </a:extLst>
          </p:cNvPr>
          <p:cNvSpPr/>
          <p:nvPr/>
        </p:nvSpPr>
        <p:spPr>
          <a:xfrm flipH="1">
            <a:off x="3181600" y="5552172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3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B3635AC-764D-4DDA-8700-61E5703AD807}"/>
              </a:ext>
            </a:extLst>
          </p:cNvPr>
          <p:cNvSpPr/>
          <p:nvPr/>
        </p:nvSpPr>
        <p:spPr>
          <a:xfrm>
            <a:off x="8202827" y="5628802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10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AC8D26E-7435-4384-88FB-EA0C3DD3B3E6}"/>
              </a:ext>
            </a:extLst>
          </p:cNvPr>
          <p:cNvSpPr/>
          <p:nvPr/>
        </p:nvSpPr>
        <p:spPr>
          <a:xfrm>
            <a:off x="3892658" y="6431641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9E4BEE1-B026-44DC-9994-CE8C1BD82331}"/>
              </a:ext>
            </a:extLst>
          </p:cNvPr>
          <p:cNvCxnSpPr>
            <a:cxnSpLocks/>
          </p:cNvCxnSpPr>
          <p:nvPr/>
        </p:nvCxnSpPr>
        <p:spPr>
          <a:xfrm flipV="1">
            <a:off x="6289729" y="6564548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:a16="http://schemas.microsoft.com/office/drawing/2014/main" id="{65E04E8C-699C-4A3F-9609-CADEBAD36BE5}"/>
              </a:ext>
            </a:extLst>
          </p:cNvPr>
          <p:cNvSpPr/>
          <p:nvPr/>
        </p:nvSpPr>
        <p:spPr>
          <a:xfrm flipH="1">
            <a:off x="3181600" y="6355011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4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32525C1-0231-4C6D-9158-19373526434A}"/>
              </a:ext>
            </a:extLst>
          </p:cNvPr>
          <p:cNvSpPr/>
          <p:nvPr/>
        </p:nvSpPr>
        <p:spPr>
          <a:xfrm>
            <a:off x="8202827" y="6432589"/>
            <a:ext cx="320996" cy="26391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284689675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188011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1CF7ECE-168F-4A1D-891E-5479314AA799}"/>
              </a:ext>
            </a:extLst>
          </p:cNvPr>
          <p:cNvSpPr/>
          <p:nvPr/>
        </p:nvSpPr>
        <p:spPr>
          <a:xfrm>
            <a:off x="0" y="5528010"/>
            <a:ext cx="12192000" cy="132999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3B88249-034E-4263-B3AA-175A5A181DC1}"/>
              </a:ext>
            </a:extLst>
          </p:cNvPr>
          <p:cNvSpPr/>
          <p:nvPr/>
        </p:nvSpPr>
        <p:spPr>
          <a:xfrm>
            <a:off x="3686795" y="1363612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90E03B71-463D-4439-A221-DFE09A29633D}"/>
              </a:ext>
            </a:extLst>
          </p:cNvPr>
          <p:cNvCxnSpPr>
            <a:cxnSpLocks/>
          </p:cNvCxnSpPr>
          <p:nvPr/>
        </p:nvCxnSpPr>
        <p:spPr>
          <a:xfrm>
            <a:off x="3328956" y="1589234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75C80992-3C2F-4A61-B5F1-2A1A93513FA9}"/>
              </a:ext>
            </a:extLst>
          </p:cNvPr>
          <p:cNvSpPr/>
          <p:nvPr/>
        </p:nvSpPr>
        <p:spPr>
          <a:xfrm>
            <a:off x="3273433" y="1285421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02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A2BA25E-0EBA-4780-B760-C6E721831CAE}"/>
              </a:ext>
            </a:extLst>
          </p:cNvPr>
          <p:cNvSpPr/>
          <p:nvPr/>
        </p:nvSpPr>
        <p:spPr>
          <a:xfrm>
            <a:off x="3686795" y="2041476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5FF7385-6E8F-43A7-BBE0-E29C3C64F301}"/>
              </a:ext>
            </a:extLst>
          </p:cNvPr>
          <p:cNvCxnSpPr>
            <a:cxnSpLocks/>
          </p:cNvCxnSpPr>
          <p:nvPr/>
        </p:nvCxnSpPr>
        <p:spPr>
          <a:xfrm>
            <a:off x="3328956" y="2271709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0917853E-A7DD-434E-8C6D-D8D7F68D078E}"/>
              </a:ext>
            </a:extLst>
          </p:cNvPr>
          <p:cNvSpPr/>
          <p:nvPr/>
        </p:nvSpPr>
        <p:spPr>
          <a:xfrm>
            <a:off x="3273433" y="1967896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09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75393E7-386B-4C0B-B826-FDA74970868C}"/>
              </a:ext>
            </a:extLst>
          </p:cNvPr>
          <p:cNvSpPr/>
          <p:nvPr/>
        </p:nvSpPr>
        <p:spPr>
          <a:xfrm>
            <a:off x="3686795" y="2723951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7C78A87C-FA1C-4313-9F39-70EF328CA848}"/>
              </a:ext>
            </a:extLst>
          </p:cNvPr>
          <p:cNvCxnSpPr>
            <a:cxnSpLocks/>
          </p:cNvCxnSpPr>
          <p:nvPr/>
        </p:nvCxnSpPr>
        <p:spPr>
          <a:xfrm>
            <a:off x="3328956" y="2949573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59B14903-6FD1-4CBF-AB9C-888C495E70D0}"/>
              </a:ext>
            </a:extLst>
          </p:cNvPr>
          <p:cNvSpPr/>
          <p:nvPr/>
        </p:nvSpPr>
        <p:spPr>
          <a:xfrm>
            <a:off x="3273433" y="2645760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10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AC8D26E-7435-4384-88FB-EA0C3DD3B3E6}"/>
              </a:ext>
            </a:extLst>
          </p:cNvPr>
          <p:cNvSpPr/>
          <p:nvPr/>
        </p:nvSpPr>
        <p:spPr>
          <a:xfrm>
            <a:off x="3686795" y="3408653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9C77D53-37A9-4590-8A53-03C16877768F}"/>
              </a:ext>
            </a:extLst>
          </p:cNvPr>
          <p:cNvCxnSpPr>
            <a:cxnSpLocks/>
          </p:cNvCxnSpPr>
          <p:nvPr/>
        </p:nvCxnSpPr>
        <p:spPr>
          <a:xfrm>
            <a:off x="3328956" y="3632048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FD85EB36-432B-4804-A836-F1F4E46423D3}"/>
              </a:ext>
            </a:extLst>
          </p:cNvPr>
          <p:cNvSpPr/>
          <p:nvPr/>
        </p:nvSpPr>
        <p:spPr>
          <a:xfrm>
            <a:off x="3273433" y="3328235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15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DD384EA-96D8-4D2C-ADCD-1C760E727635}"/>
              </a:ext>
            </a:extLst>
          </p:cNvPr>
          <p:cNvSpPr/>
          <p:nvPr/>
        </p:nvSpPr>
        <p:spPr>
          <a:xfrm>
            <a:off x="3686795" y="4091127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8F5989B-571E-486A-9CE6-A20BF85E952E}"/>
              </a:ext>
            </a:extLst>
          </p:cNvPr>
          <p:cNvCxnSpPr>
            <a:cxnSpLocks/>
          </p:cNvCxnSpPr>
          <p:nvPr/>
        </p:nvCxnSpPr>
        <p:spPr>
          <a:xfrm>
            <a:off x="3328956" y="4316749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CC897288-85DF-4FD1-AC2B-1D686054D498}"/>
              </a:ext>
            </a:extLst>
          </p:cNvPr>
          <p:cNvSpPr/>
          <p:nvPr/>
        </p:nvSpPr>
        <p:spPr>
          <a:xfrm>
            <a:off x="3273433" y="4012936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20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46315D05-0A44-4D40-8015-FFB243B6F888}"/>
              </a:ext>
            </a:extLst>
          </p:cNvPr>
          <p:cNvSpPr/>
          <p:nvPr/>
        </p:nvSpPr>
        <p:spPr>
          <a:xfrm>
            <a:off x="7716184" y="1363612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F7C86F9B-E855-4585-9651-9E2D000AD98D}"/>
              </a:ext>
            </a:extLst>
          </p:cNvPr>
          <p:cNvCxnSpPr>
            <a:cxnSpLocks/>
          </p:cNvCxnSpPr>
          <p:nvPr/>
        </p:nvCxnSpPr>
        <p:spPr>
          <a:xfrm>
            <a:off x="7358345" y="1589234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A00D27EC-8A67-4A1B-AA51-A40BFE81A5A5}"/>
              </a:ext>
            </a:extLst>
          </p:cNvPr>
          <p:cNvSpPr/>
          <p:nvPr/>
        </p:nvSpPr>
        <p:spPr>
          <a:xfrm>
            <a:off x="7302822" y="1285421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02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E7EAEEA-E0E7-4B3D-B304-332CA0F80B87}"/>
              </a:ext>
            </a:extLst>
          </p:cNvPr>
          <p:cNvSpPr/>
          <p:nvPr/>
        </p:nvSpPr>
        <p:spPr>
          <a:xfrm>
            <a:off x="7716184" y="2041476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AF75AB56-E43E-447B-B4B3-9B19EF1F6CB5}"/>
              </a:ext>
            </a:extLst>
          </p:cNvPr>
          <p:cNvCxnSpPr>
            <a:cxnSpLocks/>
          </p:cNvCxnSpPr>
          <p:nvPr/>
        </p:nvCxnSpPr>
        <p:spPr>
          <a:xfrm>
            <a:off x="7358345" y="2271709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DDEAD6D4-CD0E-47BC-AB9D-161BB80BB305}"/>
              </a:ext>
            </a:extLst>
          </p:cNvPr>
          <p:cNvSpPr/>
          <p:nvPr/>
        </p:nvSpPr>
        <p:spPr>
          <a:xfrm>
            <a:off x="7302822" y="1967896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09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A21CEED-F88E-40D7-B1E8-F6898711C6D3}"/>
              </a:ext>
            </a:extLst>
          </p:cNvPr>
          <p:cNvSpPr/>
          <p:nvPr/>
        </p:nvSpPr>
        <p:spPr>
          <a:xfrm>
            <a:off x="7716184" y="2723951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593CA93-F28E-40F7-A876-7511C5570A06}"/>
              </a:ext>
            </a:extLst>
          </p:cNvPr>
          <p:cNvCxnSpPr>
            <a:cxnSpLocks/>
          </p:cNvCxnSpPr>
          <p:nvPr/>
        </p:nvCxnSpPr>
        <p:spPr>
          <a:xfrm>
            <a:off x="7358345" y="2949573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EE7D47D6-F4E8-4F27-AA83-A907D1E5C464}"/>
              </a:ext>
            </a:extLst>
          </p:cNvPr>
          <p:cNvSpPr/>
          <p:nvPr/>
        </p:nvSpPr>
        <p:spPr>
          <a:xfrm>
            <a:off x="7302822" y="2645760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10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FFB85D95-23AE-446D-9940-622EC9E9C2F2}"/>
              </a:ext>
            </a:extLst>
          </p:cNvPr>
          <p:cNvSpPr/>
          <p:nvPr/>
        </p:nvSpPr>
        <p:spPr>
          <a:xfrm>
            <a:off x="7716184" y="3408653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C3B4C061-FFB8-4FF4-AAEF-6999BA2584BE}"/>
              </a:ext>
            </a:extLst>
          </p:cNvPr>
          <p:cNvCxnSpPr>
            <a:cxnSpLocks/>
          </p:cNvCxnSpPr>
          <p:nvPr/>
        </p:nvCxnSpPr>
        <p:spPr>
          <a:xfrm>
            <a:off x="7358345" y="3632048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F4D9C181-9FE9-4EAD-B3F7-F9F11D9E0546}"/>
              </a:ext>
            </a:extLst>
          </p:cNvPr>
          <p:cNvSpPr/>
          <p:nvPr/>
        </p:nvSpPr>
        <p:spPr>
          <a:xfrm>
            <a:off x="7302822" y="3328235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15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EB7FF55A-7557-494D-A2E2-8BD2ECCC03BD}"/>
              </a:ext>
            </a:extLst>
          </p:cNvPr>
          <p:cNvSpPr/>
          <p:nvPr/>
        </p:nvSpPr>
        <p:spPr>
          <a:xfrm>
            <a:off x="7716184" y="4091127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8C4B7284-1BD2-461F-8553-16230AAB5013}"/>
              </a:ext>
            </a:extLst>
          </p:cNvPr>
          <p:cNvCxnSpPr>
            <a:cxnSpLocks/>
          </p:cNvCxnSpPr>
          <p:nvPr/>
        </p:nvCxnSpPr>
        <p:spPr>
          <a:xfrm>
            <a:off x="7358345" y="4316749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DB8A3576-EF2A-43EB-A86F-92450F9469DD}"/>
              </a:ext>
            </a:extLst>
          </p:cNvPr>
          <p:cNvSpPr/>
          <p:nvPr/>
        </p:nvSpPr>
        <p:spPr>
          <a:xfrm>
            <a:off x="7302822" y="4012936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20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EE7AA7D-5EB6-4AA2-915B-D16BDC1F4B02}"/>
              </a:ext>
            </a:extLst>
          </p:cNvPr>
          <p:cNvCxnSpPr/>
          <p:nvPr/>
        </p:nvCxnSpPr>
        <p:spPr>
          <a:xfrm>
            <a:off x="606753" y="3909834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itle 1">
            <a:extLst>
              <a:ext uri="{FF2B5EF4-FFF2-40B4-BE49-F238E27FC236}">
                <a16:creationId xmlns:a16="http://schemas.microsoft.com/office/drawing/2014/main" id="{31F89735-73E5-442B-884A-95E8DA0D74E4}"/>
              </a:ext>
            </a:extLst>
          </p:cNvPr>
          <p:cNvSpPr txBox="1">
            <a:spLocks/>
          </p:cNvSpPr>
          <p:nvPr/>
        </p:nvSpPr>
        <p:spPr>
          <a:xfrm>
            <a:off x="551738" y="3194209"/>
            <a:ext cx="1783689" cy="4555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200"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9E290001-EF7A-4828-B89D-A96171AEE2A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220" y="363125"/>
            <a:ext cx="1073080" cy="455405"/>
          </a:xfrm>
          <a:prstGeom prst="rect">
            <a:avLst/>
          </a:prstGeom>
          <a:noFill/>
          <a:ln>
            <a:noFill/>
          </a:ln>
        </p:spPr>
      </p:pic>
      <p:sp>
        <p:nvSpPr>
          <p:cNvPr id="76" name="Rectangle 75">
            <a:extLst>
              <a:ext uri="{FF2B5EF4-FFF2-40B4-BE49-F238E27FC236}">
                <a16:creationId xmlns:a16="http://schemas.microsoft.com/office/drawing/2014/main" id="{0CDDDA25-F1DA-46F7-B07A-26DAE09F7311}"/>
              </a:ext>
            </a:extLst>
          </p:cNvPr>
          <p:cNvSpPr/>
          <p:nvPr/>
        </p:nvSpPr>
        <p:spPr>
          <a:xfrm>
            <a:off x="3332799" y="5995815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 dirty="0">
                <a:solidFill>
                  <a:srgbClr val="D82435"/>
                </a:solidFill>
                <a:latin typeface="Nexa Bold" panose="02000000000000000000" pitchFamily="50" charset="0"/>
              </a:rPr>
              <a:t>APPENDIX A  </a:t>
            </a:r>
            <a:r>
              <a:rPr lang="en-ID" sz="1100" dirty="0">
                <a:solidFill>
                  <a:srgbClr val="D82435"/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0BBD00E-630D-4505-84EF-235136F3C60C}"/>
              </a:ext>
            </a:extLst>
          </p:cNvPr>
          <p:cNvSpPr/>
          <p:nvPr/>
        </p:nvSpPr>
        <p:spPr>
          <a:xfrm>
            <a:off x="3332799" y="6291366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 dirty="0">
                <a:solidFill>
                  <a:srgbClr val="D82435"/>
                </a:solidFill>
                <a:latin typeface="Nexa Bold" panose="02000000000000000000" pitchFamily="50" charset="0"/>
              </a:rPr>
              <a:t>APPENDIX B  </a:t>
            </a:r>
            <a:r>
              <a:rPr lang="en-ID" sz="1100" dirty="0">
                <a:solidFill>
                  <a:srgbClr val="D82435"/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464CC38A-8E58-42FB-A004-DCDDAC1F5BE0}"/>
              </a:ext>
            </a:extLst>
          </p:cNvPr>
          <p:cNvSpPr/>
          <p:nvPr/>
        </p:nvSpPr>
        <p:spPr>
          <a:xfrm>
            <a:off x="7312742" y="5993699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 dirty="0">
                <a:solidFill>
                  <a:srgbClr val="D82435"/>
                </a:solidFill>
                <a:latin typeface="Nexa Bold" panose="02000000000000000000" pitchFamily="50" charset="0"/>
              </a:rPr>
              <a:t>APPENDIX C  </a:t>
            </a:r>
            <a:r>
              <a:rPr lang="en-ID" sz="1100" dirty="0">
                <a:solidFill>
                  <a:srgbClr val="D82435"/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C85CECD-FD07-4B8A-BA45-05F0E8718B0D}"/>
              </a:ext>
            </a:extLst>
          </p:cNvPr>
          <p:cNvSpPr/>
          <p:nvPr/>
        </p:nvSpPr>
        <p:spPr>
          <a:xfrm>
            <a:off x="7312742" y="6289249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 dirty="0">
                <a:solidFill>
                  <a:srgbClr val="D82435"/>
                </a:solidFill>
                <a:latin typeface="Nexa Bold" panose="02000000000000000000" pitchFamily="50" charset="0"/>
              </a:rPr>
              <a:t>APPENDIX D  </a:t>
            </a:r>
            <a:r>
              <a:rPr lang="en-ID" sz="1100" b="0" dirty="0">
                <a:solidFill>
                  <a:srgbClr val="D82435"/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5AB63BEF-B171-418D-AEC9-537BFB0D7E15}"/>
              </a:ext>
            </a:extLst>
          </p:cNvPr>
          <p:cNvSpPr/>
          <p:nvPr/>
        </p:nvSpPr>
        <p:spPr>
          <a:xfrm>
            <a:off x="4355142" y="5995815"/>
            <a:ext cx="184630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F1FF25D-E6AB-49C5-8D12-5E5CDF76A078}"/>
              </a:ext>
            </a:extLst>
          </p:cNvPr>
          <p:cNvSpPr/>
          <p:nvPr/>
        </p:nvSpPr>
        <p:spPr>
          <a:xfrm>
            <a:off x="4355141" y="6291365"/>
            <a:ext cx="1846303" cy="2073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06B480D9-4CB4-4A86-BE49-CDE3D1C0469A}"/>
              </a:ext>
            </a:extLst>
          </p:cNvPr>
          <p:cNvSpPr/>
          <p:nvPr/>
        </p:nvSpPr>
        <p:spPr>
          <a:xfrm>
            <a:off x="8335084" y="5993698"/>
            <a:ext cx="1846303" cy="2073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7E96864E-A4D1-4B54-AA86-267F4EC0C780}"/>
              </a:ext>
            </a:extLst>
          </p:cNvPr>
          <p:cNvSpPr/>
          <p:nvPr/>
        </p:nvSpPr>
        <p:spPr>
          <a:xfrm>
            <a:off x="8335084" y="6289248"/>
            <a:ext cx="1846303" cy="2073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48" name="Footer Placeholder 4">
            <a:extLst>
              <a:ext uri="{FF2B5EF4-FFF2-40B4-BE49-F238E27FC236}">
                <a16:creationId xmlns:a16="http://schemas.microsoft.com/office/drawing/2014/main" id="{BBEFAD99-8805-49F8-BCDE-765A5F378CAC}"/>
              </a:ext>
            </a:extLst>
          </p:cNvPr>
          <p:cNvSpPr txBox="1">
            <a:spLocks/>
          </p:cNvSpPr>
          <p:nvPr/>
        </p:nvSpPr>
        <p:spPr>
          <a:xfrm>
            <a:off x="11295586" y="6341710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CONFIDINTIAL</a:t>
            </a:r>
          </a:p>
        </p:txBody>
      </p:sp>
    </p:spTree>
    <p:extLst>
      <p:ext uri="{BB962C8B-B14F-4D97-AF65-F5344CB8AC3E}">
        <p14:creationId xmlns:p14="http://schemas.microsoft.com/office/powerpoint/2010/main" val="375406880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6">
            <a:extLst>
              <a:ext uri="{FF2B5EF4-FFF2-40B4-BE49-F238E27FC236}">
                <a16:creationId xmlns:a16="http://schemas.microsoft.com/office/drawing/2014/main" id="{A9E1E493-8350-430A-877B-88213893A13A}"/>
              </a:ext>
            </a:extLst>
          </p:cNvPr>
          <p:cNvSpPr/>
          <p:nvPr/>
        </p:nvSpPr>
        <p:spPr>
          <a:xfrm flipH="1">
            <a:off x="3453102" y="0"/>
            <a:ext cx="8738898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2A8495-68FC-463B-B919-DBE944FDC4F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013" y="5841308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B02EE97-7C08-42D0-AC49-C893539184F9}"/>
              </a:ext>
            </a:extLst>
          </p:cNvPr>
          <p:cNvCxnSpPr/>
          <p:nvPr/>
        </p:nvCxnSpPr>
        <p:spPr>
          <a:xfrm>
            <a:off x="11130756" y="4164118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1">
            <a:extLst>
              <a:ext uri="{FF2B5EF4-FFF2-40B4-BE49-F238E27FC236}">
                <a16:creationId xmlns:a16="http://schemas.microsoft.com/office/drawing/2014/main" id="{82EEDA8E-A90A-4D44-825A-05C74F95F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5" y="2889205"/>
            <a:ext cx="8543925" cy="512448"/>
          </a:xfrm>
        </p:spPr>
        <p:txBody>
          <a:bodyPr vert="horz" lIns="0" tIns="0" rIns="0" bIns="0" rtlCol="0" anchor="t">
            <a:spAutoFit/>
          </a:bodyPr>
          <a:lstStyle>
            <a:lvl1pPr algn="r" rtl="1">
              <a:defRPr lang="en-US"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ABA04E7-C09E-472D-A5A0-6C553F17BE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81375" y="3654773"/>
            <a:ext cx="8543925" cy="415498"/>
          </a:xfrm>
        </p:spPr>
        <p:txBody>
          <a:bodyPr vert="horz" wrap="square" lIns="0" tIns="0" rIns="0" bIns="0" rtlCol="0">
            <a:spAutoFit/>
          </a:bodyPr>
          <a:lstStyle>
            <a:lvl1pPr marL="0" indent="0" algn="r" rtl="1">
              <a:buNone/>
              <a:defRPr lang="en-US" sz="1800" smtClean="0">
                <a:solidFill>
                  <a:srgbClr val="D82435"/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534048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0A554A07-6BDD-490E-B32C-6F96CE61FF7D}"/>
              </a:ext>
            </a:extLst>
          </p:cNvPr>
          <p:cNvGrpSpPr/>
          <p:nvPr/>
        </p:nvGrpSpPr>
        <p:grpSpPr>
          <a:xfrm flipH="1">
            <a:off x="0" y="0"/>
            <a:ext cx="12215937" cy="6960075"/>
            <a:chOff x="1" y="-30631"/>
            <a:chExt cx="10049567" cy="672161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21C32B9-3999-4416-86E2-A65BAA169F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" y="-30630"/>
              <a:ext cx="10049566" cy="6709681"/>
            </a:xfrm>
            <a:prstGeom prst="rect">
              <a:avLst/>
            </a:prstGeom>
          </p:spPr>
        </p:pic>
        <p:sp>
          <p:nvSpPr>
            <p:cNvPr id="9" name="Freeform 16">
              <a:extLst>
                <a:ext uri="{FF2B5EF4-FFF2-40B4-BE49-F238E27FC236}">
                  <a16:creationId xmlns:a16="http://schemas.microsoft.com/office/drawing/2014/main" id="{FEB2627B-B1B7-43AF-847E-A00AAF1B5FDC}"/>
                </a:ext>
              </a:extLst>
            </p:cNvPr>
            <p:cNvSpPr/>
            <p:nvPr/>
          </p:nvSpPr>
          <p:spPr>
            <a:xfrm>
              <a:off x="1" y="-30631"/>
              <a:ext cx="9283396" cy="6709681"/>
            </a:xfrm>
            <a:custGeom>
              <a:avLst/>
              <a:gdLst>
                <a:gd name="connsiteX0" fmla="*/ 0 w 10778328"/>
                <a:gd name="connsiteY0" fmla="*/ 0 h 6858000"/>
                <a:gd name="connsiteX1" fmla="*/ 8652602 w 10778328"/>
                <a:gd name="connsiteY1" fmla="*/ 0 h 6858000"/>
                <a:gd name="connsiteX2" fmla="*/ 10305791 w 10778328"/>
                <a:gd name="connsiteY2" fmla="*/ 1653189 h 6858000"/>
                <a:gd name="connsiteX3" fmla="*/ 10305791 w 10778328"/>
                <a:gd name="connsiteY3" fmla="*/ 3934802 h 6858000"/>
                <a:gd name="connsiteX4" fmla="*/ 7382593 w 10778328"/>
                <a:gd name="connsiteY4" fmla="*/ 6858000 h 6858000"/>
                <a:gd name="connsiteX5" fmla="*/ 0 w 10778328"/>
                <a:gd name="connsiteY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78328" h="6858000">
                  <a:moveTo>
                    <a:pt x="0" y="0"/>
                  </a:moveTo>
                  <a:lnTo>
                    <a:pt x="8652602" y="0"/>
                  </a:lnTo>
                  <a:lnTo>
                    <a:pt x="10305791" y="1653189"/>
                  </a:lnTo>
                  <a:cubicBezTo>
                    <a:pt x="10935841" y="2283239"/>
                    <a:pt x="10935841" y="3304752"/>
                    <a:pt x="10305791" y="3934802"/>
                  </a:cubicBezTo>
                  <a:lnTo>
                    <a:pt x="7382593" y="6858000"/>
                  </a:lnTo>
                  <a:lnTo>
                    <a:pt x="0" y="6858000"/>
                  </a:lnTo>
                  <a:close/>
                </a:path>
              </a:pathLst>
            </a:custGeom>
            <a:gradFill>
              <a:gsLst>
                <a:gs pos="80000">
                  <a:schemeClr val="bg1"/>
                </a:gs>
                <a:gs pos="21000">
                  <a:schemeClr val="bg1">
                    <a:alpha val="44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  <p:sp>
          <p:nvSpPr>
            <p:cNvPr id="10" name="Freeform 17">
              <a:extLst>
                <a:ext uri="{FF2B5EF4-FFF2-40B4-BE49-F238E27FC236}">
                  <a16:creationId xmlns:a16="http://schemas.microsoft.com/office/drawing/2014/main" id="{177BD577-9DD5-431F-A945-B479AFDA80FD}"/>
                </a:ext>
              </a:extLst>
            </p:cNvPr>
            <p:cNvSpPr/>
            <p:nvPr/>
          </p:nvSpPr>
          <p:spPr>
            <a:xfrm>
              <a:off x="1128351" y="-30630"/>
              <a:ext cx="8921217" cy="6721615"/>
            </a:xfrm>
            <a:custGeom>
              <a:avLst/>
              <a:gdLst>
                <a:gd name="connsiteX0" fmla="*/ 86343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7367004 w 12192000"/>
                <a:gd name="connsiteY3" fmla="*/ 6858000 h 6858000"/>
                <a:gd name="connsiteX4" fmla="*/ 10284029 w 12192000"/>
                <a:gd name="connsiteY4" fmla="*/ 3934802 h 6858000"/>
                <a:gd name="connsiteX5" fmla="*/ 10284029 w 12192000"/>
                <a:gd name="connsiteY5" fmla="*/ 1653189 h 6858000"/>
                <a:gd name="connsiteX6" fmla="*/ 0 w 12192000"/>
                <a:gd name="connsiteY6" fmla="*/ 0 h 6858000"/>
                <a:gd name="connsiteX7" fmla="*/ 1 w 12192000"/>
                <a:gd name="connsiteY7" fmla="*/ 0 h 6858000"/>
                <a:gd name="connsiteX8" fmla="*/ 1 w 12192000"/>
                <a:gd name="connsiteY8" fmla="*/ 6858000 h 6858000"/>
                <a:gd name="connsiteX9" fmla="*/ 0 w 12192000"/>
                <a:gd name="connsiteY9" fmla="*/ 6858000 h 6858000"/>
                <a:gd name="connsiteX0" fmla="*/ 86343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7186405 w 12192000"/>
                <a:gd name="connsiteY3" fmla="*/ 6858000 h 6858000"/>
                <a:gd name="connsiteX4" fmla="*/ 10284029 w 12192000"/>
                <a:gd name="connsiteY4" fmla="*/ 3934802 h 6858000"/>
                <a:gd name="connsiteX5" fmla="*/ 10284029 w 12192000"/>
                <a:gd name="connsiteY5" fmla="*/ 1653189 h 6858000"/>
                <a:gd name="connsiteX6" fmla="*/ 8634331 w 12192000"/>
                <a:gd name="connsiteY6" fmla="*/ 0 h 6858000"/>
                <a:gd name="connsiteX7" fmla="*/ 0 w 12192000"/>
                <a:gd name="connsiteY7" fmla="*/ 0 h 6858000"/>
                <a:gd name="connsiteX8" fmla="*/ 1 w 12192000"/>
                <a:gd name="connsiteY8" fmla="*/ 0 h 6858000"/>
                <a:gd name="connsiteX9" fmla="*/ 1 w 12192000"/>
                <a:gd name="connsiteY9" fmla="*/ 6858000 h 6858000"/>
                <a:gd name="connsiteX10" fmla="*/ 0 w 12192000"/>
                <a:gd name="connsiteY10" fmla="*/ 6858000 h 6858000"/>
                <a:gd name="connsiteX11" fmla="*/ 0 w 12192000"/>
                <a:gd name="connsiteY11" fmla="*/ 0 h 6858000"/>
                <a:gd name="connsiteX0" fmla="*/ 8634331 w 12192000"/>
                <a:gd name="connsiteY0" fmla="*/ 0 h 6870197"/>
                <a:gd name="connsiteX1" fmla="*/ 12192000 w 12192000"/>
                <a:gd name="connsiteY1" fmla="*/ 0 h 6870197"/>
                <a:gd name="connsiteX2" fmla="*/ 12192000 w 12192000"/>
                <a:gd name="connsiteY2" fmla="*/ 6858000 h 6870197"/>
                <a:gd name="connsiteX3" fmla="*/ 7103051 w 12192000"/>
                <a:gd name="connsiteY3" fmla="*/ 6870197 h 6870197"/>
                <a:gd name="connsiteX4" fmla="*/ 10284029 w 12192000"/>
                <a:gd name="connsiteY4" fmla="*/ 3934802 h 6870197"/>
                <a:gd name="connsiteX5" fmla="*/ 10284029 w 12192000"/>
                <a:gd name="connsiteY5" fmla="*/ 1653189 h 6870197"/>
                <a:gd name="connsiteX6" fmla="*/ 8634331 w 12192000"/>
                <a:gd name="connsiteY6" fmla="*/ 0 h 6870197"/>
                <a:gd name="connsiteX7" fmla="*/ 0 w 12192000"/>
                <a:gd name="connsiteY7" fmla="*/ 0 h 6870197"/>
                <a:gd name="connsiteX8" fmla="*/ 1 w 12192000"/>
                <a:gd name="connsiteY8" fmla="*/ 0 h 6870197"/>
                <a:gd name="connsiteX9" fmla="*/ 1 w 12192000"/>
                <a:gd name="connsiteY9" fmla="*/ 6858000 h 6870197"/>
                <a:gd name="connsiteX10" fmla="*/ 0 w 12192000"/>
                <a:gd name="connsiteY10" fmla="*/ 6858000 h 6870197"/>
                <a:gd name="connsiteX11" fmla="*/ 0 w 12192000"/>
                <a:gd name="connsiteY11" fmla="*/ 0 h 6870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192000" h="6870197">
                  <a:moveTo>
                    <a:pt x="8634331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7103051" y="6870197"/>
                  </a:lnTo>
                  <a:cubicBezTo>
                    <a:pt x="8075393" y="5895798"/>
                    <a:pt x="9311687" y="4909201"/>
                    <a:pt x="10284029" y="3934802"/>
                  </a:cubicBezTo>
                  <a:cubicBezTo>
                    <a:pt x="10912748" y="3304752"/>
                    <a:pt x="10912748" y="2283239"/>
                    <a:pt x="10284029" y="1653189"/>
                  </a:cubicBezTo>
                  <a:lnTo>
                    <a:pt x="8634331" y="0"/>
                  </a:lnTo>
                  <a:close/>
                  <a:moveTo>
                    <a:pt x="0" y="0"/>
                  </a:moveTo>
                  <a:lnTo>
                    <a:pt x="1" y="0"/>
                  </a:lnTo>
                  <a:lnTo>
                    <a:pt x="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72000">
                  <a:srgbClr val="D82435">
                    <a:alpha val="11000"/>
                  </a:srgbClr>
                </a:gs>
                <a:gs pos="13000">
                  <a:srgbClr val="D82435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1" dirty="0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D9DBCECE-F207-4B6A-B471-E08E4AF45089}"/>
              </a:ext>
            </a:extLst>
          </p:cNvPr>
          <p:cNvSpPr txBox="1"/>
          <p:nvPr/>
        </p:nvSpPr>
        <p:spPr>
          <a:xfrm>
            <a:off x="7186743" y="3456002"/>
            <a:ext cx="4343400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 rtl="1"/>
            <a:r>
              <a:rPr lang="ar-SA" sz="3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LT Arabic 55 Roman" charset="0"/>
                <a:ea typeface="Helvetica Neue LT Arabic 55 Roman" charset="0"/>
                <a:cs typeface="Helvetica Neue LT Arabic 55 Roman" charset="0"/>
              </a:rPr>
              <a:t>شكراً</a:t>
            </a:r>
            <a:endParaRPr lang="id-ID" sz="3200" b="0">
              <a:solidFill>
                <a:schemeClr val="tx1">
                  <a:lumMod val="85000"/>
                  <a:lumOff val="15000"/>
                </a:schemeClr>
              </a:solidFill>
              <a:latin typeface="Helvetica Neue LT Arabic 55 Roman" charset="0"/>
              <a:ea typeface="Helvetica Neue LT Arabic 55 Roman" charset="0"/>
              <a:cs typeface="Helvetica Neue LT Arabic 55 Roman" charset="0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67F4D057-0411-44BE-9A34-9F6F4E68953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6709" y="351026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F743CF8-DD56-4E9A-882F-021EF52CEEF1}"/>
              </a:ext>
            </a:extLst>
          </p:cNvPr>
          <p:cNvCxnSpPr/>
          <p:nvPr/>
        </p:nvCxnSpPr>
        <p:spPr>
          <a:xfrm>
            <a:off x="603376" y="4164118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081274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32" y="1021103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  <a:latin typeface="Nexa Light" panose="02000000000000000000" pitchFamily="50" charset="0"/>
              </a:defRPr>
            </a:lvl1pPr>
            <a:lvl2pPr marL="457211" indent="0">
              <a:buNone/>
              <a:defRPr>
                <a:solidFill>
                  <a:srgbClr val="D82435"/>
                </a:solidFill>
              </a:defRPr>
            </a:lvl2pPr>
            <a:lvl3pPr marL="914423" indent="0">
              <a:buNone/>
              <a:defRPr>
                <a:solidFill>
                  <a:srgbClr val="D82435"/>
                </a:solidFill>
              </a:defRPr>
            </a:lvl3pPr>
            <a:lvl4pPr marL="1371634" indent="0">
              <a:buNone/>
              <a:defRPr>
                <a:solidFill>
                  <a:srgbClr val="D82435"/>
                </a:solidFill>
              </a:defRPr>
            </a:lvl4pPr>
            <a:lvl5pPr marL="1828846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1"/>
            <a:ext cx="10721977" cy="4716463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1400">
                <a:latin typeface="Nexa Light" panose="02000000000000000000" pitchFamily="50" charset="0"/>
              </a:defRPr>
            </a:lvl1pPr>
            <a:lvl2pPr marL="457200" indent="0" algn="l">
              <a:buNone/>
              <a:defRPr sz="1400">
                <a:latin typeface="Nexa Light" panose="02000000000000000000" pitchFamily="50" charset="0"/>
              </a:defRPr>
            </a:lvl2pPr>
            <a:lvl3pPr marL="914400" indent="0" algn="l">
              <a:buNone/>
              <a:defRPr sz="1400">
                <a:latin typeface="Nexa Light" panose="02000000000000000000" pitchFamily="50" charset="0"/>
              </a:defRPr>
            </a:lvl3pPr>
            <a:lvl4pPr marL="1371600" indent="0" algn="l">
              <a:buNone/>
              <a:defRPr sz="1400">
                <a:latin typeface="Nexa Light" panose="02000000000000000000" pitchFamily="50" charset="0"/>
              </a:defRPr>
            </a:lvl4pPr>
            <a:lvl5pPr marL="1828800" indent="0" algn="l">
              <a:buNone/>
              <a:defRPr sz="1400">
                <a:latin typeface="Nexa Light" panose="02000000000000000000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13" name="Slide Number Placeholder 10"/>
          <p:cNvSpPr txBox="1">
            <a:spLocks/>
          </p:cNvSpPr>
          <p:nvPr/>
        </p:nvSpPr>
        <p:spPr>
          <a:xfrm>
            <a:off x="791332" y="6697852"/>
            <a:ext cx="3024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/>
          </a:p>
        </p:txBody>
      </p:sp>
      <p:sp>
        <p:nvSpPr>
          <p:cNvPr id="20" name="Rectangle 19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/>
          <a:stretch/>
        </p:blipFill>
        <p:spPr>
          <a:xfrm>
            <a:off x="38108" y="6319515"/>
            <a:ext cx="3496702" cy="411198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734330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id-ID" sz="2400"/>
          </a:p>
        </p:txBody>
      </p:sp>
      <p:sp>
        <p:nvSpPr>
          <p:cNvPr id="24" name="Isosceles Triangle 23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0447" y="6281640"/>
            <a:ext cx="399023" cy="552823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67"/>
            <a:ext cx="2743200" cy="154799"/>
          </a:xfrm>
        </p:spPr>
        <p:txBody>
          <a:bodyPr tIns="36000" bIns="36000"/>
          <a:lstStyle>
            <a:lvl1pPr rtl="0">
              <a:defRPr sz="700">
                <a:solidFill>
                  <a:srgbClr val="D82435"/>
                </a:solidFill>
                <a:latin typeface="Nexa Light" panose="02000000000000000000" pitchFamily="50" charset="0"/>
              </a:defRPr>
            </a:lvl1pPr>
          </a:lstStyle>
          <a:p>
            <a:fld id="{AD8C344F-EAE6-49A2-805E-0D8EB7B8BEF8}" type="datetime1">
              <a:rPr lang="id-ID" smtClean="0"/>
              <a:t>20/08/2025</a:t>
            </a:fld>
            <a:endParaRPr lang="id-ID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3F55EFA-E475-4A8E-BF35-906C2072E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0EF5E4-35CF-4C29-B9F8-D683A03DA2A9}" type="slidenum">
              <a:rPr kumimoji="0" lang="id-ID" sz="7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NeueLT Regular" panose="020B0604020202020204" pitchFamily="34" charset="-78"/>
                <a:cs typeface="HelveticaNeueLT Regular" panose="020B0604020202020204" pitchFamily="34" charset="-78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d-ID" sz="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NeueLT Regular" panose="020B0604020202020204" pitchFamily="34" charset="-78"/>
              <a:cs typeface="HelveticaNeueLT Regular" panose="020B0604020202020204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2548137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12192000" cy="6858001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1FC15-1C79-411F-B695-03330CA5006F}" type="datetime1">
              <a:rPr lang="id-ID" smtClean="0"/>
              <a:t>20/08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34578A-BCA8-4876-AF0A-3D493F00BD23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0" y="-1"/>
            <a:ext cx="12192000" cy="6858000"/>
            <a:chOff x="0" y="0"/>
            <a:chExt cx="12192000" cy="6858000"/>
          </a:xfrm>
        </p:grpSpPr>
        <p:sp>
          <p:nvSpPr>
            <p:cNvPr id="7" name="Freeform 6"/>
            <p:cNvSpPr/>
            <p:nvPr/>
          </p:nvSpPr>
          <p:spPr>
            <a:xfrm>
              <a:off x="1" y="0"/>
              <a:ext cx="10755567" cy="6858000"/>
            </a:xfrm>
            <a:custGeom>
              <a:avLst/>
              <a:gdLst>
                <a:gd name="connsiteX0" fmla="*/ 0 w 10778328"/>
                <a:gd name="connsiteY0" fmla="*/ 0 h 6858000"/>
                <a:gd name="connsiteX1" fmla="*/ 8652602 w 10778328"/>
                <a:gd name="connsiteY1" fmla="*/ 0 h 6858000"/>
                <a:gd name="connsiteX2" fmla="*/ 10305791 w 10778328"/>
                <a:gd name="connsiteY2" fmla="*/ 1653189 h 6858000"/>
                <a:gd name="connsiteX3" fmla="*/ 10305791 w 10778328"/>
                <a:gd name="connsiteY3" fmla="*/ 3934802 h 6858000"/>
                <a:gd name="connsiteX4" fmla="*/ 7382593 w 10778328"/>
                <a:gd name="connsiteY4" fmla="*/ 6858000 h 6858000"/>
                <a:gd name="connsiteX5" fmla="*/ 0 w 10778328"/>
                <a:gd name="connsiteY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78328" h="6858000">
                  <a:moveTo>
                    <a:pt x="0" y="0"/>
                  </a:moveTo>
                  <a:lnTo>
                    <a:pt x="8652602" y="0"/>
                  </a:lnTo>
                  <a:lnTo>
                    <a:pt x="10305791" y="1653189"/>
                  </a:lnTo>
                  <a:cubicBezTo>
                    <a:pt x="10935841" y="2283239"/>
                    <a:pt x="10935841" y="3304752"/>
                    <a:pt x="10305791" y="3934802"/>
                  </a:cubicBezTo>
                  <a:lnTo>
                    <a:pt x="7382593" y="6858000"/>
                  </a:lnTo>
                  <a:lnTo>
                    <a:pt x="0" y="6858000"/>
                  </a:lnTo>
                  <a:close/>
                </a:path>
              </a:pathLst>
            </a:custGeom>
            <a:gradFill>
              <a:gsLst>
                <a:gs pos="80000">
                  <a:schemeClr val="bg1"/>
                </a:gs>
                <a:gs pos="21000">
                  <a:schemeClr val="bg1">
                    <a:alpha val="44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8" name="Freeform 7"/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>
                <a:gd name="connsiteX0" fmla="*/ 86343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7367004 w 12192000"/>
                <a:gd name="connsiteY3" fmla="*/ 6858000 h 6858000"/>
                <a:gd name="connsiteX4" fmla="*/ 10284029 w 12192000"/>
                <a:gd name="connsiteY4" fmla="*/ 3934802 h 6858000"/>
                <a:gd name="connsiteX5" fmla="*/ 10284029 w 12192000"/>
                <a:gd name="connsiteY5" fmla="*/ 1653189 h 6858000"/>
                <a:gd name="connsiteX6" fmla="*/ 0 w 12192000"/>
                <a:gd name="connsiteY6" fmla="*/ 0 h 6858000"/>
                <a:gd name="connsiteX7" fmla="*/ 1 w 12192000"/>
                <a:gd name="connsiteY7" fmla="*/ 0 h 6858000"/>
                <a:gd name="connsiteX8" fmla="*/ 1 w 12192000"/>
                <a:gd name="connsiteY8" fmla="*/ 6858000 h 6858000"/>
                <a:gd name="connsiteX9" fmla="*/ 0 w 12192000"/>
                <a:gd name="connsiteY9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92000" h="6858000">
                  <a:moveTo>
                    <a:pt x="8634331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7367004" y="6858000"/>
                  </a:lnTo>
                  <a:lnTo>
                    <a:pt x="10284029" y="3934802"/>
                  </a:lnTo>
                  <a:cubicBezTo>
                    <a:pt x="10912748" y="3304752"/>
                    <a:pt x="10912748" y="2283239"/>
                    <a:pt x="10284029" y="1653189"/>
                  </a:cubicBezTo>
                  <a:close/>
                  <a:moveTo>
                    <a:pt x="0" y="0"/>
                  </a:moveTo>
                  <a:lnTo>
                    <a:pt x="1" y="0"/>
                  </a:lnTo>
                  <a:lnTo>
                    <a:pt x="1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72000">
                  <a:srgbClr val="D82435">
                    <a:alpha val="11000"/>
                  </a:srgbClr>
                </a:gs>
                <a:gs pos="13000">
                  <a:srgbClr val="D82435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900" y="664021"/>
            <a:ext cx="2814433" cy="119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54052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Right 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CEF01BE-9E42-4FE5-9487-09C60C31846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7208" y="6315376"/>
            <a:ext cx="1032856" cy="438334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BFC63C32-5A1A-432C-93F6-369417C4E7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1" y="350121"/>
            <a:ext cx="11506200" cy="348380"/>
          </a:xfrm>
        </p:spPr>
        <p:txBody>
          <a:bodyPr lIns="0" tIns="0" rIns="0" bIns="0" anchor="t">
            <a:noAutofit/>
          </a:bodyPr>
          <a:lstStyle>
            <a:lvl1pPr algn="r" rtl="1">
              <a:defRPr sz="2400">
                <a:latin typeface="HelveticaNeueLT Arabic 75 Bold" panose="020B0804020202020204" pitchFamily="34" charset="-78"/>
                <a:cs typeface="HelveticaNeueLT Arabic 75 Bold" panose="020B0804020202020204" pitchFamily="34" charset="-7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62A742F-8631-47CC-B446-1A8F8EDA9BBA}"/>
              </a:ext>
            </a:extLst>
          </p:cNvPr>
          <p:cNvCxnSpPr>
            <a:cxnSpLocks/>
          </p:cNvCxnSpPr>
          <p:nvPr/>
        </p:nvCxnSpPr>
        <p:spPr>
          <a:xfrm>
            <a:off x="1171575" y="6534543"/>
            <a:ext cx="94202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2B8B1CF-033A-4BE7-9D9A-A3B7B169AE80}"/>
              </a:ext>
            </a:extLst>
          </p:cNvPr>
          <p:cNvSpPr/>
          <p:nvPr/>
        </p:nvSpPr>
        <p:spPr>
          <a:xfrm>
            <a:off x="342901" y="6410325"/>
            <a:ext cx="629628" cy="248436"/>
          </a:xfrm>
          <a:prstGeom prst="roundRect">
            <a:avLst>
              <a:gd name="adj" fmla="val 50000"/>
            </a:avLst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98504DD-FBCF-4E0F-83C8-D26D6DF31E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10" y="6448505"/>
            <a:ext cx="358756" cy="172076"/>
          </a:xfrm>
        </p:spPr>
        <p:txBody>
          <a:bodyPr lIns="0" tIns="0" rIns="0" bIns="0" anchor="ctr"/>
          <a:lstStyle>
            <a:lvl1pPr algn="ctr">
              <a:defRPr sz="1000">
                <a:solidFill>
                  <a:schemeClr val="bg1"/>
                </a:solidFill>
                <a:latin typeface="+mj-lt"/>
                <a:ea typeface="Nexa Light" charset="0"/>
                <a:cs typeface="Nexa Light" charset="0"/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737214E3-882E-492B-9026-25A02187F19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2900" y="1045029"/>
            <a:ext cx="11506200" cy="5065485"/>
          </a:xfrm>
        </p:spPr>
        <p:txBody>
          <a:bodyPr lIns="0" tIns="0" rIns="0" bIns="0">
            <a:normAutofit/>
          </a:bodyPr>
          <a:lstStyle>
            <a:lvl1pPr marL="228600" indent="-228600" algn="r" rtl="1">
              <a:buFont typeface="Verdana" panose="020B0604030504040204" pitchFamily="34" charset="0"/>
              <a:buChar char="‹"/>
              <a:defRPr sz="1600">
                <a:latin typeface="+mn-lt"/>
              </a:defRPr>
            </a:lvl1pPr>
            <a:lvl2pPr marL="685800" indent="-228600" algn="r" rtl="1">
              <a:buFont typeface="Verdana" panose="020B0604030504040204" pitchFamily="34" charset="0"/>
              <a:buChar char="‹"/>
              <a:defRPr sz="1400">
                <a:latin typeface="+mn-lt"/>
              </a:defRPr>
            </a:lvl2pPr>
            <a:lvl3pPr marL="1143000" indent="-228600" algn="r" rtl="1">
              <a:buFont typeface="Verdana" panose="020B0604030504040204" pitchFamily="34" charset="0"/>
              <a:buChar char="‹"/>
              <a:defRPr sz="1200">
                <a:latin typeface="+mn-lt"/>
              </a:defRPr>
            </a:lvl3pPr>
            <a:lvl4pPr marL="1600200" indent="-228600" algn="r" rtl="1">
              <a:buFont typeface="Verdana" panose="020B0604030504040204" pitchFamily="34" charset="0"/>
              <a:buChar char="‹"/>
              <a:defRPr sz="1100">
                <a:latin typeface="+mn-lt"/>
              </a:defRPr>
            </a:lvl4pPr>
            <a:lvl5pPr marL="2057400" indent="-228600" algn="r" rtl="1">
              <a:buFont typeface="Verdana" panose="020B0604030504040204" pitchFamily="34" charset="0"/>
              <a:buChar char="‹"/>
              <a:defRPr sz="11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3224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16">
          <p15:clr>
            <a:srgbClr val="FBAE40"/>
          </p15:clr>
        </p15:guide>
        <p15:guide id="6" pos="7464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eft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BFC63C32-5A1A-432C-93F6-369417C4E7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1" y="350121"/>
            <a:ext cx="11506200" cy="348380"/>
          </a:xfrm>
        </p:spPr>
        <p:txBody>
          <a:bodyPr lIns="0" tIns="0" rIns="0" bIns="0" anchor="t">
            <a:noAutofit/>
          </a:bodyPr>
          <a:lstStyle>
            <a:lvl1pPr algn="l" rtl="0">
              <a:defRPr sz="2400">
                <a:latin typeface="HelveticaNeueLT Arabic 75 Bold" panose="020B0804020202020204" pitchFamily="34" charset="-78"/>
                <a:cs typeface="HelveticaNeueLT Arabic 75 Bold" panose="020B0804020202020204" pitchFamily="34" charset="-7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62A742F-8631-47CC-B446-1A8F8EDA9BBA}"/>
              </a:ext>
            </a:extLst>
          </p:cNvPr>
          <p:cNvCxnSpPr>
            <a:cxnSpLocks/>
          </p:cNvCxnSpPr>
          <p:nvPr/>
        </p:nvCxnSpPr>
        <p:spPr>
          <a:xfrm>
            <a:off x="1171575" y="6534543"/>
            <a:ext cx="94202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2B8B1CF-033A-4BE7-9D9A-A3B7B169AE80}"/>
              </a:ext>
            </a:extLst>
          </p:cNvPr>
          <p:cNvSpPr/>
          <p:nvPr/>
        </p:nvSpPr>
        <p:spPr>
          <a:xfrm>
            <a:off x="342901" y="6410325"/>
            <a:ext cx="629628" cy="248436"/>
          </a:xfrm>
          <a:prstGeom prst="roundRect">
            <a:avLst>
              <a:gd name="adj" fmla="val 50000"/>
            </a:avLst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98504DD-FBCF-4E0F-83C8-D26D6DF31E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10" y="6448505"/>
            <a:ext cx="358756" cy="172076"/>
          </a:xfrm>
        </p:spPr>
        <p:txBody>
          <a:bodyPr lIns="0" tIns="0" rIns="0" bIns="0" anchor="ctr"/>
          <a:lstStyle>
            <a:lvl1pPr algn="ctr">
              <a:defRPr sz="1000">
                <a:solidFill>
                  <a:schemeClr val="bg1"/>
                </a:solidFill>
                <a:latin typeface="HelveticaNeueLT Arabic 75 Bold" panose="020B0804020202020204" pitchFamily="34" charset="-78"/>
                <a:ea typeface="HelveticaNeueLT Arabic 75 Bold" panose="020B0804020202020204" pitchFamily="34" charset="-78"/>
                <a:cs typeface="HelveticaNeueLT Arabic 75 Bold" panose="020B0804020202020204" pitchFamily="34" charset="-78"/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737214E3-882E-492B-9026-25A02187F19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2900" y="1045029"/>
            <a:ext cx="11506200" cy="5065485"/>
          </a:xfrm>
        </p:spPr>
        <p:txBody>
          <a:bodyPr lIns="0" tIns="0" rIns="0" bIns="0">
            <a:normAutofit/>
          </a:bodyPr>
          <a:lstStyle>
            <a:lvl1pPr marL="228600" indent="-228600" algn="l" rtl="0">
              <a:buFont typeface="Verdana" panose="020B0604030504040204" pitchFamily="34" charset="0"/>
              <a:buChar char="›"/>
              <a:defRPr sz="1600">
                <a:latin typeface="+mn-lt"/>
              </a:defRPr>
            </a:lvl1pPr>
            <a:lvl2pPr marL="685800" indent="-228600" algn="l" rtl="0">
              <a:buFont typeface="Verdana" panose="020B0604030504040204" pitchFamily="34" charset="0"/>
              <a:buChar char="›"/>
              <a:defRPr sz="1400">
                <a:latin typeface="+mn-lt"/>
              </a:defRPr>
            </a:lvl2pPr>
            <a:lvl3pPr marL="1143000" indent="-228600" algn="l" rtl="0">
              <a:buFont typeface="Verdana" panose="020B0604030504040204" pitchFamily="34" charset="0"/>
              <a:buChar char="›"/>
              <a:defRPr sz="1200">
                <a:latin typeface="+mn-lt"/>
              </a:defRPr>
            </a:lvl3pPr>
            <a:lvl4pPr marL="1600200" indent="-228600" algn="l" rtl="0">
              <a:buFont typeface="Verdana" panose="020B0604030504040204" pitchFamily="34" charset="0"/>
              <a:buChar char="›"/>
              <a:defRPr sz="1100">
                <a:latin typeface="+mn-lt"/>
              </a:defRPr>
            </a:lvl4pPr>
            <a:lvl5pPr marL="2057400" indent="-228600" algn="l" rtl="0">
              <a:buFont typeface="Verdana" panose="020B0604030504040204" pitchFamily="34" charset="0"/>
              <a:buChar char="›"/>
              <a:defRPr sz="11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399463-470B-4212-A8C9-E0FB395B0C5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7208" y="6315376"/>
            <a:ext cx="1032856" cy="4383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83391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16">
          <p15:clr>
            <a:srgbClr val="FBAE40"/>
          </p15:clr>
        </p15:guide>
        <p15:guide id="6" pos="746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">
            <a:extLst>
              <a:ext uri="{FF2B5EF4-FFF2-40B4-BE49-F238E27FC236}">
                <a16:creationId xmlns:a16="http://schemas.microsoft.com/office/drawing/2014/main" id="{98684A94-858C-4ED7-AEA8-0341299C8757}"/>
              </a:ext>
            </a:extLst>
          </p:cNvPr>
          <p:cNvSpPr/>
          <p:nvPr/>
        </p:nvSpPr>
        <p:spPr>
          <a:xfrm flipH="1">
            <a:off x="1345474" y="0"/>
            <a:ext cx="10846527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64290EF-7788-4A0A-912F-5F46C944F7A2}"/>
              </a:ext>
            </a:extLst>
          </p:cNvPr>
          <p:cNvCxnSpPr/>
          <p:nvPr/>
        </p:nvCxnSpPr>
        <p:spPr>
          <a:xfrm>
            <a:off x="10764341" y="2463800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4FACADC2-B5D2-4F92-9AD0-5322BCFB120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962" y="5715007"/>
            <a:ext cx="1704191" cy="72324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5316096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10860" y="3883937"/>
            <a:ext cx="5537640" cy="919512"/>
          </a:xfrm>
        </p:spPr>
        <p:txBody>
          <a:bodyPr lIns="0" tIns="0" rIns="0" bIns="0" anchor="b">
            <a:normAutofit/>
          </a:bodyPr>
          <a:lstStyle>
            <a:lvl1pPr algn="l"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0860" y="5309150"/>
            <a:ext cx="5537640" cy="2769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28130268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10">
            <a:extLst>
              <a:ext uri="{FF2B5EF4-FFF2-40B4-BE49-F238E27FC236}">
                <a16:creationId xmlns:a16="http://schemas.microsoft.com/office/drawing/2014/main" id="{B2BC91AC-0017-4A6B-92BF-0C9B2CD3C23E}"/>
              </a:ext>
            </a:extLst>
          </p:cNvPr>
          <p:cNvSpPr txBox="1">
            <a:spLocks/>
          </p:cNvSpPr>
          <p:nvPr userDrawn="1"/>
        </p:nvSpPr>
        <p:spPr>
          <a:xfrm>
            <a:off x="791332" y="6697852"/>
            <a:ext cx="3024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FD5C379-5A89-45FF-A52E-BEDE674366C2}"/>
              </a:ext>
            </a:extLst>
          </p:cNvPr>
          <p:cNvSpPr/>
          <p:nvPr userDrawn="1"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AB5B2CF-A1A5-4240-86B9-BC17E22872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/>
          <a:stretch/>
        </p:blipFill>
        <p:spPr>
          <a:xfrm>
            <a:off x="38107" y="6121682"/>
            <a:ext cx="4369771" cy="609031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161B4AE-D9E7-43DE-A7B7-37CAAAF0423F}"/>
              </a:ext>
            </a:extLst>
          </p:cNvPr>
          <p:cNvSpPr/>
          <p:nvPr userDrawn="1"/>
        </p:nvSpPr>
        <p:spPr>
          <a:xfrm>
            <a:off x="734330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 sz="1801"/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5B808912-CA72-4FD1-A58B-D5E275D8B92A}"/>
              </a:ext>
            </a:extLst>
          </p:cNvPr>
          <p:cNvSpPr/>
          <p:nvPr userDrawn="1"/>
        </p:nvSpPr>
        <p:spPr>
          <a:xfrm flipV="1">
            <a:off x="11220719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2F8A7B3F-7296-41EF-AF84-5F88CE596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3623" y="6281640"/>
            <a:ext cx="516693" cy="552823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690E5D9-07D9-4721-878F-53C1A8BBE2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81900" y="6721767"/>
            <a:ext cx="2743200" cy="154799"/>
          </a:xfrm>
        </p:spPr>
        <p:txBody>
          <a:bodyPr tIns="36000" bIns="36000"/>
          <a:lstStyle>
            <a:lvl1pPr rtl="0">
              <a:defRPr sz="700">
                <a:solidFill>
                  <a:srgbClr val="D82435"/>
                </a:solidFill>
                <a:latin typeface="Nexa Light" panose="02000000000000000000" pitchFamily="50" charset="0"/>
              </a:defRPr>
            </a:lvl1pPr>
          </a:lstStyle>
          <a:p>
            <a:endParaRPr lang="id-ID"/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6D37506A-C904-4A81-9531-9602358D5D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lIns="0" tIns="36000" rIns="0" bIns="36000">
            <a:noAutofit/>
          </a:bodyPr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65771946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_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BCA03C-12FE-40A5-B9ED-38586D724B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881562" y="6356350"/>
            <a:ext cx="2743200" cy="365125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fld id="{9045A39B-1CD4-450F-BBF8-5B3F2FBC548D}" type="datetime1">
              <a:rPr lang="id-ID" smtClean="0"/>
              <a:t>20/08/2025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F3D11F1-1028-4CBF-BA8D-72D096D00C6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3448549" y="-2"/>
            <a:ext cx="8738898" cy="6858000"/>
          </a:xfrm>
          <a:custGeom>
            <a:avLst/>
            <a:gdLst>
              <a:gd name="connsiteX0" fmla="*/ 0 w 8738898"/>
              <a:gd name="connsiteY0" fmla="*/ 0 h 6858000"/>
              <a:gd name="connsiteX1" fmla="*/ 7015393 w 8738898"/>
              <a:gd name="connsiteY1" fmla="*/ 0 h 6858000"/>
              <a:gd name="connsiteX2" fmla="*/ 8355773 w 8738898"/>
              <a:gd name="connsiteY2" fmla="*/ 1653189 h 6858000"/>
              <a:gd name="connsiteX3" fmla="*/ 8355773 w 8738898"/>
              <a:gd name="connsiteY3" fmla="*/ 3934802 h 6858000"/>
              <a:gd name="connsiteX4" fmla="*/ 5985690 w 8738898"/>
              <a:gd name="connsiteY4" fmla="*/ 6858000 h 6858000"/>
              <a:gd name="connsiteX5" fmla="*/ 0 w 873889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38898" h="6858000">
                <a:moveTo>
                  <a:pt x="0" y="0"/>
                </a:moveTo>
                <a:lnTo>
                  <a:pt x="7015393" y="0"/>
                </a:lnTo>
                <a:lnTo>
                  <a:pt x="8355773" y="1653189"/>
                </a:lnTo>
                <a:cubicBezTo>
                  <a:pt x="8866607" y="2283239"/>
                  <a:pt x="8866607" y="3304752"/>
                  <a:pt x="8355773" y="3934802"/>
                </a:cubicBezTo>
                <a:lnTo>
                  <a:pt x="5985690" y="6858000"/>
                </a:lnTo>
                <a:lnTo>
                  <a:pt x="0" y="6858000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9" name="Freeform 7">
            <a:extLst>
              <a:ext uri="{FF2B5EF4-FFF2-40B4-BE49-F238E27FC236}">
                <a16:creationId xmlns:a16="http://schemas.microsoft.com/office/drawing/2014/main" id="{AF9512CB-441F-4B5E-A0FE-7FF7F37BB36D}"/>
              </a:ext>
            </a:extLst>
          </p:cNvPr>
          <p:cNvSpPr/>
          <p:nvPr/>
        </p:nvSpPr>
        <p:spPr>
          <a:xfrm flipH="1">
            <a:off x="3448549" y="0"/>
            <a:ext cx="8738898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72000">
                <a:srgbClr val="D82435">
                  <a:alpha val="11000"/>
                </a:srgbClr>
              </a:gs>
              <a:gs pos="13000">
                <a:srgbClr val="D8243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CEF01BE-9E42-4FE5-9487-09C60C3184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620" y="5841308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0ED1571-09CD-4BAD-9843-28D6F1C4DDFE}"/>
              </a:ext>
            </a:extLst>
          </p:cNvPr>
          <p:cNvCxnSpPr/>
          <p:nvPr/>
        </p:nvCxnSpPr>
        <p:spPr>
          <a:xfrm>
            <a:off x="10565140" y="4164118"/>
            <a:ext cx="794544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DA3CF038-BE9C-4CEC-9473-D8B819549F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50115" y="3207400"/>
            <a:ext cx="7261106" cy="886397"/>
          </a:xfrm>
        </p:spPr>
        <p:txBody>
          <a:bodyPr vert="horz" wrap="square" lIns="0" tIns="0" rIns="0" bIns="0" rtlCol="0" anchor="ctr">
            <a:spAutoFit/>
          </a:bodyPr>
          <a:lstStyle>
            <a:lvl1pPr algn="r" rtl="1">
              <a:defRPr lang="en-US" sz="3200" dirty="0">
                <a:solidFill>
                  <a:schemeClr val="bg1"/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D5A7A42-02BD-478F-A339-9EF1ABDE7D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98688" y="4456039"/>
            <a:ext cx="4112533" cy="923330"/>
          </a:xfrm>
        </p:spPr>
        <p:txBody>
          <a:bodyPr vert="horz" wrap="square" lIns="0" tIns="0" rIns="0" bIns="0" rtlCol="0">
            <a:spAutoFit/>
          </a:bodyPr>
          <a:lstStyle>
            <a:lvl1pPr marL="0" indent="0" algn="r" rtl="1">
              <a:buNone/>
              <a:defRPr lang="en-US" sz="2000" dirty="0">
                <a:solidFill>
                  <a:schemeClr val="bg1"/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5F20BA5-BA09-4744-A5C4-E7000B8EE2C0}"/>
              </a:ext>
            </a:extLst>
          </p:cNvPr>
          <p:cNvSpPr txBox="1">
            <a:spLocks/>
          </p:cNvSpPr>
          <p:nvPr/>
        </p:nvSpPr>
        <p:spPr>
          <a:xfrm>
            <a:off x="6394620" y="6391866"/>
            <a:ext cx="5657852" cy="172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 rtl="1"/>
            <a:r>
              <a:rPr lang="en-GB" dirty="0">
                <a:solidFill>
                  <a:prstClr val="white"/>
                </a:solidFill>
                <a:ea typeface="Helvetica Neue" charset="0"/>
                <a:cs typeface="Helvetica Neue" charset="0"/>
              </a:rPr>
              <a:t>This document is confidential and any unauthorized use without the permission of Kafa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122730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888">
          <p15:clr>
            <a:srgbClr val="FBAE40"/>
          </p15:clr>
        </p15:guide>
        <p15:guide id="4" orient="horz" pos="2260">
          <p15:clr>
            <a:srgbClr val="FBAE40"/>
          </p15:clr>
        </p15:guide>
        <p15:guide id="5" pos="168">
          <p15:clr>
            <a:srgbClr val="FBAE40"/>
          </p15:clr>
        </p15:guide>
        <p15:guide id="6" pos="7512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1CF7ECE-168F-4A1D-891E-5479314AA79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2A8495-68FC-463B-B919-DBE944FDC4F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055" y="6109144"/>
            <a:ext cx="1073080" cy="45540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8C90FB-41A3-4D31-A98A-54BD8CDC5ECA}"/>
              </a:ext>
            </a:extLst>
          </p:cNvPr>
          <p:cNvCxnSpPr/>
          <p:nvPr/>
        </p:nvCxnSpPr>
        <p:spPr>
          <a:xfrm>
            <a:off x="10528185" y="4158152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DAEAB580-381E-4386-BE1F-08C9B0865525}"/>
              </a:ext>
            </a:extLst>
          </p:cNvPr>
          <p:cNvSpPr txBox="1">
            <a:spLocks/>
          </p:cNvSpPr>
          <p:nvPr/>
        </p:nvSpPr>
        <p:spPr>
          <a:xfrm>
            <a:off x="9581904" y="3442527"/>
            <a:ext cx="1783689" cy="4555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200"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lvl="0" algn="r" rtl="1"/>
            <a:r>
              <a:rPr lang="ar-SA" sz="3200" b="1" dirty="0">
                <a:latin typeface="HelveticaNeueLT Arabic 75 Bold" panose="020B0804020202020204" pitchFamily="34" charset="-78"/>
                <a:cs typeface="HelveticaNeueLT Arabic 75 Bold" panose="020B0804020202020204" pitchFamily="34" charset="-78"/>
              </a:rPr>
              <a:t>المحتوى</a:t>
            </a:r>
            <a:endParaRPr lang="en-US" b="1" dirty="0"/>
          </a:p>
        </p:txBody>
      </p:sp>
      <p:sp>
        <p:nvSpPr>
          <p:cNvPr id="42" name="Footer Placeholder 4">
            <a:extLst>
              <a:ext uri="{FF2B5EF4-FFF2-40B4-BE49-F238E27FC236}">
                <a16:creationId xmlns:a16="http://schemas.microsoft.com/office/drawing/2014/main" id="{05391945-27E2-403F-A98A-D65B2D2D2560}"/>
              </a:ext>
            </a:extLst>
          </p:cNvPr>
          <p:cNvSpPr txBox="1">
            <a:spLocks/>
          </p:cNvSpPr>
          <p:nvPr/>
        </p:nvSpPr>
        <p:spPr>
          <a:xfrm>
            <a:off x="236881" y="319088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CONFIDINTIAL</a:t>
            </a:r>
          </a:p>
        </p:txBody>
      </p:sp>
    </p:spTree>
    <p:extLst>
      <p:ext uri="{BB962C8B-B14F-4D97-AF65-F5344CB8AC3E}">
        <p14:creationId xmlns:p14="http://schemas.microsoft.com/office/powerpoint/2010/main" val="44777618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1CF7ECE-168F-4A1D-891E-5479314AA79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3B88249-034E-4263-B3AA-175A5A181DC1}"/>
              </a:ext>
            </a:extLst>
          </p:cNvPr>
          <p:cNvSpPr/>
          <p:nvPr/>
        </p:nvSpPr>
        <p:spPr>
          <a:xfrm>
            <a:off x="3892658" y="204900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3F560F9-70FC-4980-9E87-639680B54FAC}"/>
              </a:ext>
            </a:extLst>
          </p:cNvPr>
          <p:cNvCxnSpPr>
            <a:cxnSpLocks/>
          </p:cNvCxnSpPr>
          <p:nvPr/>
        </p:nvCxnSpPr>
        <p:spPr>
          <a:xfrm flipV="1">
            <a:off x="6289729" y="337807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1471D17F-0F1F-4BDC-AF2B-0CEA53388D48}"/>
              </a:ext>
            </a:extLst>
          </p:cNvPr>
          <p:cNvSpPr/>
          <p:nvPr/>
        </p:nvSpPr>
        <p:spPr>
          <a:xfrm flipH="1">
            <a:off x="3181600" y="128270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1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AC0DB41-25E3-4D72-8E13-57268B3BD14A}"/>
              </a:ext>
            </a:extLst>
          </p:cNvPr>
          <p:cNvSpPr/>
          <p:nvPr/>
        </p:nvSpPr>
        <p:spPr>
          <a:xfrm>
            <a:off x="8202827" y="204900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02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A2BA25E-0EBA-4780-B760-C6E721831CAE}"/>
              </a:ext>
            </a:extLst>
          </p:cNvPr>
          <p:cNvSpPr/>
          <p:nvPr/>
        </p:nvSpPr>
        <p:spPr>
          <a:xfrm>
            <a:off x="3892658" y="933494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B94C1CB-357C-47F9-B590-5F1BF5DA160C}"/>
              </a:ext>
            </a:extLst>
          </p:cNvPr>
          <p:cNvCxnSpPr>
            <a:cxnSpLocks/>
          </p:cNvCxnSpPr>
          <p:nvPr/>
        </p:nvCxnSpPr>
        <p:spPr>
          <a:xfrm flipV="1">
            <a:off x="6289729" y="1066401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id="{DFD15B59-1555-40DE-B6DE-446AE39D9C3E}"/>
              </a:ext>
            </a:extLst>
          </p:cNvPr>
          <p:cNvSpPr/>
          <p:nvPr/>
        </p:nvSpPr>
        <p:spPr>
          <a:xfrm flipH="1">
            <a:off x="3181600" y="856864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2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906D322-1B2D-4A6C-8044-24426E441F6F}"/>
              </a:ext>
            </a:extLst>
          </p:cNvPr>
          <p:cNvSpPr/>
          <p:nvPr/>
        </p:nvSpPr>
        <p:spPr>
          <a:xfrm>
            <a:off x="8202827" y="933494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09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75393E7-386B-4C0B-B826-FDA74970868C}"/>
              </a:ext>
            </a:extLst>
          </p:cNvPr>
          <p:cNvSpPr/>
          <p:nvPr/>
        </p:nvSpPr>
        <p:spPr>
          <a:xfrm>
            <a:off x="3892658" y="1738718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CC803F9-B113-41D6-97B2-23D14AAD09CE}"/>
              </a:ext>
            </a:extLst>
          </p:cNvPr>
          <p:cNvCxnSpPr>
            <a:cxnSpLocks/>
          </p:cNvCxnSpPr>
          <p:nvPr/>
        </p:nvCxnSpPr>
        <p:spPr>
          <a:xfrm flipV="1">
            <a:off x="6289729" y="1871625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AACB8F17-1054-4472-BA39-BDF142CA2935}"/>
              </a:ext>
            </a:extLst>
          </p:cNvPr>
          <p:cNvSpPr/>
          <p:nvPr/>
        </p:nvSpPr>
        <p:spPr>
          <a:xfrm flipH="1">
            <a:off x="3181600" y="1662088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3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B3635AC-764D-4DDA-8700-61E5703AD807}"/>
              </a:ext>
            </a:extLst>
          </p:cNvPr>
          <p:cNvSpPr/>
          <p:nvPr/>
        </p:nvSpPr>
        <p:spPr>
          <a:xfrm>
            <a:off x="8202827" y="1738718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10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AC8D26E-7435-4384-88FB-EA0C3DD3B3E6}"/>
              </a:ext>
            </a:extLst>
          </p:cNvPr>
          <p:cNvSpPr/>
          <p:nvPr/>
        </p:nvSpPr>
        <p:spPr>
          <a:xfrm>
            <a:off x="3892658" y="2541557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C9E4BEE1-B026-44DC-9994-CE8C1BD82331}"/>
              </a:ext>
            </a:extLst>
          </p:cNvPr>
          <p:cNvCxnSpPr>
            <a:cxnSpLocks/>
          </p:cNvCxnSpPr>
          <p:nvPr/>
        </p:nvCxnSpPr>
        <p:spPr>
          <a:xfrm flipV="1">
            <a:off x="6289729" y="2674464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65E04E8C-699C-4A3F-9609-CADEBAD36BE5}"/>
              </a:ext>
            </a:extLst>
          </p:cNvPr>
          <p:cNvSpPr/>
          <p:nvPr/>
        </p:nvSpPr>
        <p:spPr>
          <a:xfrm flipH="1">
            <a:off x="3181600" y="2464927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4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432525C1-0231-4C6D-9158-19373526434A}"/>
              </a:ext>
            </a:extLst>
          </p:cNvPr>
          <p:cNvSpPr/>
          <p:nvPr/>
        </p:nvSpPr>
        <p:spPr>
          <a:xfrm>
            <a:off x="8202827" y="2542505"/>
            <a:ext cx="320996" cy="26391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15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DD384EA-96D8-4D2C-ADCD-1C760E727635}"/>
              </a:ext>
            </a:extLst>
          </p:cNvPr>
          <p:cNvSpPr/>
          <p:nvPr/>
        </p:nvSpPr>
        <p:spPr>
          <a:xfrm>
            <a:off x="3892658" y="3344396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3E73B1CF-DFD0-49F9-B3CC-71D272219113}"/>
              </a:ext>
            </a:extLst>
          </p:cNvPr>
          <p:cNvCxnSpPr>
            <a:cxnSpLocks/>
          </p:cNvCxnSpPr>
          <p:nvPr/>
        </p:nvCxnSpPr>
        <p:spPr>
          <a:xfrm flipV="1">
            <a:off x="6289729" y="3477303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Oval 76">
            <a:extLst>
              <a:ext uri="{FF2B5EF4-FFF2-40B4-BE49-F238E27FC236}">
                <a16:creationId xmlns:a16="http://schemas.microsoft.com/office/drawing/2014/main" id="{2C0AE610-9574-4080-9A8F-B0CFC95D72F6}"/>
              </a:ext>
            </a:extLst>
          </p:cNvPr>
          <p:cNvSpPr/>
          <p:nvPr/>
        </p:nvSpPr>
        <p:spPr>
          <a:xfrm flipH="1">
            <a:off x="3181600" y="3267766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5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A867231-D8B2-4237-AF87-3DFBBB52A0CC}"/>
              </a:ext>
            </a:extLst>
          </p:cNvPr>
          <p:cNvSpPr/>
          <p:nvPr/>
        </p:nvSpPr>
        <p:spPr>
          <a:xfrm>
            <a:off x="8202827" y="3344396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20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90E03B71-463D-4439-A221-DFE09A29633D}"/>
              </a:ext>
            </a:extLst>
          </p:cNvPr>
          <p:cNvCxnSpPr/>
          <p:nvPr/>
        </p:nvCxnSpPr>
        <p:spPr>
          <a:xfrm>
            <a:off x="606753" y="4158152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itle 1">
            <a:extLst>
              <a:ext uri="{FF2B5EF4-FFF2-40B4-BE49-F238E27FC236}">
                <a16:creationId xmlns:a16="http://schemas.microsoft.com/office/drawing/2014/main" id="{72554050-8939-4582-96BF-449BEF10488C}"/>
              </a:ext>
            </a:extLst>
          </p:cNvPr>
          <p:cNvSpPr txBox="1">
            <a:spLocks/>
          </p:cNvSpPr>
          <p:nvPr/>
        </p:nvSpPr>
        <p:spPr>
          <a:xfrm>
            <a:off x="551738" y="3442527"/>
            <a:ext cx="1783689" cy="4555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200"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18A248D3-96FE-41CA-831F-67FB2678AAA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220" y="6109144"/>
            <a:ext cx="1073080" cy="455405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907BF56A-F40E-488F-818B-E13AA8A87343}"/>
              </a:ext>
            </a:extLst>
          </p:cNvPr>
          <p:cNvSpPr txBox="1">
            <a:spLocks/>
          </p:cNvSpPr>
          <p:nvPr/>
        </p:nvSpPr>
        <p:spPr>
          <a:xfrm>
            <a:off x="11295586" y="319088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CONFIDINTIAL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3B88249-034E-4263-B3AA-175A5A181DC1}"/>
              </a:ext>
            </a:extLst>
          </p:cNvPr>
          <p:cNvSpPr/>
          <p:nvPr/>
        </p:nvSpPr>
        <p:spPr>
          <a:xfrm>
            <a:off x="3892658" y="4094984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3F560F9-70FC-4980-9E87-639680B54FAC}"/>
              </a:ext>
            </a:extLst>
          </p:cNvPr>
          <p:cNvCxnSpPr>
            <a:cxnSpLocks/>
          </p:cNvCxnSpPr>
          <p:nvPr/>
        </p:nvCxnSpPr>
        <p:spPr>
          <a:xfrm flipV="1">
            <a:off x="6289729" y="4227891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1471D17F-0F1F-4BDC-AF2B-0CEA53388D48}"/>
              </a:ext>
            </a:extLst>
          </p:cNvPr>
          <p:cNvSpPr/>
          <p:nvPr/>
        </p:nvSpPr>
        <p:spPr>
          <a:xfrm flipH="1">
            <a:off x="3181600" y="4018354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1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AC0DB41-25E3-4D72-8E13-57268B3BD14A}"/>
              </a:ext>
            </a:extLst>
          </p:cNvPr>
          <p:cNvSpPr/>
          <p:nvPr/>
        </p:nvSpPr>
        <p:spPr>
          <a:xfrm>
            <a:off x="8202827" y="4094984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02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A2BA25E-0EBA-4780-B760-C6E721831CAE}"/>
              </a:ext>
            </a:extLst>
          </p:cNvPr>
          <p:cNvSpPr/>
          <p:nvPr/>
        </p:nvSpPr>
        <p:spPr>
          <a:xfrm>
            <a:off x="3892658" y="4823578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B94C1CB-357C-47F9-B590-5F1BF5DA160C}"/>
              </a:ext>
            </a:extLst>
          </p:cNvPr>
          <p:cNvCxnSpPr>
            <a:cxnSpLocks/>
          </p:cNvCxnSpPr>
          <p:nvPr/>
        </p:nvCxnSpPr>
        <p:spPr>
          <a:xfrm flipV="1">
            <a:off x="6289729" y="4956485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>
            <a:extLst>
              <a:ext uri="{FF2B5EF4-FFF2-40B4-BE49-F238E27FC236}">
                <a16:creationId xmlns:a16="http://schemas.microsoft.com/office/drawing/2014/main" id="{DFD15B59-1555-40DE-B6DE-446AE39D9C3E}"/>
              </a:ext>
            </a:extLst>
          </p:cNvPr>
          <p:cNvSpPr/>
          <p:nvPr/>
        </p:nvSpPr>
        <p:spPr>
          <a:xfrm flipH="1">
            <a:off x="3181600" y="4746948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2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906D322-1B2D-4A6C-8044-24426E441F6F}"/>
              </a:ext>
            </a:extLst>
          </p:cNvPr>
          <p:cNvSpPr/>
          <p:nvPr/>
        </p:nvSpPr>
        <p:spPr>
          <a:xfrm>
            <a:off x="8202827" y="4823578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09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75393E7-386B-4C0B-B826-FDA74970868C}"/>
              </a:ext>
            </a:extLst>
          </p:cNvPr>
          <p:cNvSpPr/>
          <p:nvPr/>
        </p:nvSpPr>
        <p:spPr>
          <a:xfrm>
            <a:off x="3892658" y="5628802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6CC803F9-B113-41D6-97B2-23D14AAD09CE}"/>
              </a:ext>
            </a:extLst>
          </p:cNvPr>
          <p:cNvCxnSpPr>
            <a:cxnSpLocks/>
          </p:cNvCxnSpPr>
          <p:nvPr/>
        </p:nvCxnSpPr>
        <p:spPr>
          <a:xfrm flipV="1">
            <a:off x="6289729" y="5761709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val 38">
            <a:extLst>
              <a:ext uri="{FF2B5EF4-FFF2-40B4-BE49-F238E27FC236}">
                <a16:creationId xmlns:a16="http://schemas.microsoft.com/office/drawing/2014/main" id="{AACB8F17-1054-4472-BA39-BDF142CA2935}"/>
              </a:ext>
            </a:extLst>
          </p:cNvPr>
          <p:cNvSpPr/>
          <p:nvPr/>
        </p:nvSpPr>
        <p:spPr>
          <a:xfrm flipH="1">
            <a:off x="3181600" y="5552172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3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B3635AC-764D-4DDA-8700-61E5703AD807}"/>
              </a:ext>
            </a:extLst>
          </p:cNvPr>
          <p:cNvSpPr/>
          <p:nvPr/>
        </p:nvSpPr>
        <p:spPr>
          <a:xfrm>
            <a:off x="8202827" y="5628802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10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AC8D26E-7435-4384-88FB-EA0C3DD3B3E6}"/>
              </a:ext>
            </a:extLst>
          </p:cNvPr>
          <p:cNvSpPr/>
          <p:nvPr/>
        </p:nvSpPr>
        <p:spPr>
          <a:xfrm>
            <a:off x="3892658" y="6431641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9E4BEE1-B026-44DC-9994-CE8C1BD82331}"/>
              </a:ext>
            </a:extLst>
          </p:cNvPr>
          <p:cNvCxnSpPr>
            <a:cxnSpLocks/>
          </p:cNvCxnSpPr>
          <p:nvPr/>
        </p:nvCxnSpPr>
        <p:spPr>
          <a:xfrm flipV="1">
            <a:off x="6289729" y="6564548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:a16="http://schemas.microsoft.com/office/drawing/2014/main" id="{65E04E8C-699C-4A3F-9609-CADEBAD36BE5}"/>
              </a:ext>
            </a:extLst>
          </p:cNvPr>
          <p:cNvSpPr/>
          <p:nvPr/>
        </p:nvSpPr>
        <p:spPr>
          <a:xfrm flipH="1">
            <a:off x="3181600" y="6355011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4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32525C1-0231-4C6D-9158-19373526434A}"/>
              </a:ext>
            </a:extLst>
          </p:cNvPr>
          <p:cNvSpPr/>
          <p:nvPr/>
        </p:nvSpPr>
        <p:spPr>
          <a:xfrm>
            <a:off x="8202827" y="6432589"/>
            <a:ext cx="320996" cy="26391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226459880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1591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1CF7ECE-168F-4A1D-891E-5479314AA799}"/>
              </a:ext>
            </a:extLst>
          </p:cNvPr>
          <p:cNvSpPr/>
          <p:nvPr/>
        </p:nvSpPr>
        <p:spPr>
          <a:xfrm>
            <a:off x="0" y="5528010"/>
            <a:ext cx="12192000" cy="132999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3B88249-034E-4263-B3AA-175A5A181DC1}"/>
              </a:ext>
            </a:extLst>
          </p:cNvPr>
          <p:cNvSpPr/>
          <p:nvPr/>
        </p:nvSpPr>
        <p:spPr>
          <a:xfrm>
            <a:off x="3686795" y="1363612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90E03B71-463D-4439-A221-DFE09A29633D}"/>
              </a:ext>
            </a:extLst>
          </p:cNvPr>
          <p:cNvCxnSpPr>
            <a:cxnSpLocks/>
          </p:cNvCxnSpPr>
          <p:nvPr/>
        </p:nvCxnSpPr>
        <p:spPr>
          <a:xfrm>
            <a:off x="3328956" y="1589234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75C80992-3C2F-4A61-B5F1-2A1A93513FA9}"/>
              </a:ext>
            </a:extLst>
          </p:cNvPr>
          <p:cNvSpPr/>
          <p:nvPr/>
        </p:nvSpPr>
        <p:spPr>
          <a:xfrm>
            <a:off x="3273433" y="1285421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02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A2BA25E-0EBA-4780-B760-C6E721831CAE}"/>
              </a:ext>
            </a:extLst>
          </p:cNvPr>
          <p:cNvSpPr/>
          <p:nvPr/>
        </p:nvSpPr>
        <p:spPr>
          <a:xfrm>
            <a:off x="3686795" y="2041476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5FF7385-6E8F-43A7-BBE0-E29C3C64F301}"/>
              </a:ext>
            </a:extLst>
          </p:cNvPr>
          <p:cNvCxnSpPr>
            <a:cxnSpLocks/>
          </p:cNvCxnSpPr>
          <p:nvPr/>
        </p:nvCxnSpPr>
        <p:spPr>
          <a:xfrm>
            <a:off x="3328956" y="2271709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0917853E-A7DD-434E-8C6D-D8D7F68D078E}"/>
              </a:ext>
            </a:extLst>
          </p:cNvPr>
          <p:cNvSpPr/>
          <p:nvPr/>
        </p:nvSpPr>
        <p:spPr>
          <a:xfrm>
            <a:off x="3273433" y="1967896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09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75393E7-386B-4C0B-B826-FDA74970868C}"/>
              </a:ext>
            </a:extLst>
          </p:cNvPr>
          <p:cNvSpPr/>
          <p:nvPr/>
        </p:nvSpPr>
        <p:spPr>
          <a:xfrm>
            <a:off x="3686795" y="2723951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7C78A87C-FA1C-4313-9F39-70EF328CA848}"/>
              </a:ext>
            </a:extLst>
          </p:cNvPr>
          <p:cNvCxnSpPr>
            <a:cxnSpLocks/>
          </p:cNvCxnSpPr>
          <p:nvPr/>
        </p:nvCxnSpPr>
        <p:spPr>
          <a:xfrm>
            <a:off x="3328956" y="2949573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59B14903-6FD1-4CBF-AB9C-888C495E70D0}"/>
              </a:ext>
            </a:extLst>
          </p:cNvPr>
          <p:cNvSpPr/>
          <p:nvPr/>
        </p:nvSpPr>
        <p:spPr>
          <a:xfrm>
            <a:off x="3273433" y="2645760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10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AC8D26E-7435-4384-88FB-EA0C3DD3B3E6}"/>
              </a:ext>
            </a:extLst>
          </p:cNvPr>
          <p:cNvSpPr/>
          <p:nvPr/>
        </p:nvSpPr>
        <p:spPr>
          <a:xfrm>
            <a:off x="3686795" y="3408653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9C77D53-37A9-4590-8A53-03C16877768F}"/>
              </a:ext>
            </a:extLst>
          </p:cNvPr>
          <p:cNvCxnSpPr>
            <a:cxnSpLocks/>
          </p:cNvCxnSpPr>
          <p:nvPr/>
        </p:nvCxnSpPr>
        <p:spPr>
          <a:xfrm>
            <a:off x="3328956" y="3632048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FD85EB36-432B-4804-A836-F1F4E46423D3}"/>
              </a:ext>
            </a:extLst>
          </p:cNvPr>
          <p:cNvSpPr/>
          <p:nvPr/>
        </p:nvSpPr>
        <p:spPr>
          <a:xfrm>
            <a:off x="3273433" y="3328235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15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DD384EA-96D8-4D2C-ADCD-1C760E727635}"/>
              </a:ext>
            </a:extLst>
          </p:cNvPr>
          <p:cNvSpPr/>
          <p:nvPr/>
        </p:nvSpPr>
        <p:spPr>
          <a:xfrm>
            <a:off x="3686795" y="4091127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8F5989B-571E-486A-9CE6-A20BF85E952E}"/>
              </a:ext>
            </a:extLst>
          </p:cNvPr>
          <p:cNvCxnSpPr>
            <a:cxnSpLocks/>
          </p:cNvCxnSpPr>
          <p:nvPr/>
        </p:nvCxnSpPr>
        <p:spPr>
          <a:xfrm>
            <a:off x="3328956" y="4316749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CC897288-85DF-4FD1-AC2B-1D686054D498}"/>
              </a:ext>
            </a:extLst>
          </p:cNvPr>
          <p:cNvSpPr/>
          <p:nvPr/>
        </p:nvSpPr>
        <p:spPr>
          <a:xfrm>
            <a:off x="3273433" y="4012936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20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46315D05-0A44-4D40-8015-FFB243B6F888}"/>
              </a:ext>
            </a:extLst>
          </p:cNvPr>
          <p:cNvSpPr/>
          <p:nvPr/>
        </p:nvSpPr>
        <p:spPr>
          <a:xfrm>
            <a:off x="7716184" y="1363612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F7C86F9B-E855-4585-9651-9E2D000AD98D}"/>
              </a:ext>
            </a:extLst>
          </p:cNvPr>
          <p:cNvCxnSpPr>
            <a:cxnSpLocks/>
          </p:cNvCxnSpPr>
          <p:nvPr/>
        </p:nvCxnSpPr>
        <p:spPr>
          <a:xfrm>
            <a:off x="7358345" y="1589234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A00D27EC-8A67-4A1B-AA51-A40BFE81A5A5}"/>
              </a:ext>
            </a:extLst>
          </p:cNvPr>
          <p:cNvSpPr/>
          <p:nvPr/>
        </p:nvSpPr>
        <p:spPr>
          <a:xfrm>
            <a:off x="7302822" y="1285421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02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E7EAEEA-E0E7-4B3D-B304-332CA0F80B87}"/>
              </a:ext>
            </a:extLst>
          </p:cNvPr>
          <p:cNvSpPr/>
          <p:nvPr/>
        </p:nvSpPr>
        <p:spPr>
          <a:xfrm>
            <a:off x="7716184" y="2041476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AF75AB56-E43E-447B-B4B3-9B19EF1F6CB5}"/>
              </a:ext>
            </a:extLst>
          </p:cNvPr>
          <p:cNvCxnSpPr>
            <a:cxnSpLocks/>
          </p:cNvCxnSpPr>
          <p:nvPr/>
        </p:nvCxnSpPr>
        <p:spPr>
          <a:xfrm>
            <a:off x="7358345" y="2271709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DDEAD6D4-CD0E-47BC-AB9D-161BB80BB305}"/>
              </a:ext>
            </a:extLst>
          </p:cNvPr>
          <p:cNvSpPr/>
          <p:nvPr/>
        </p:nvSpPr>
        <p:spPr>
          <a:xfrm>
            <a:off x="7302822" y="1967896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09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A21CEED-F88E-40D7-B1E8-F6898711C6D3}"/>
              </a:ext>
            </a:extLst>
          </p:cNvPr>
          <p:cNvSpPr/>
          <p:nvPr/>
        </p:nvSpPr>
        <p:spPr>
          <a:xfrm>
            <a:off x="7716184" y="2723951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593CA93-F28E-40F7-A876-7511C5570A06}"/>
              </a:ext>
            </a:extLst>
          </p:cNvPr>
          <p:cNvCxnSpPr>
            <a:cxnSpLocks/>
          </p:cNvCxnSpPr>
          <p:nvPr/>
        </p:nvCxnSpPr>
        <p:spPr>
          <a:xfrm>
            <a:off x="7358345" y="2949573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EE7D47D6-F4E8-4F27-AA83-A907D1E5C464}"/>
              </a:ext>
            </a:extLst>
          </p:cNvPr>
          <p:cNvSpPr/>
          <p:nvPr/>
        </p:nvSpPr>
        <p:spPr>
          <a:xfrm>
            <a:off x="7302822" y="2645760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10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FFB85D95-23AE-446D-9940-622EC9E9C2F2}"/>
              </a:ext>
            </a:extLst>
          </p:cNvPr>
          <p:cNvSpPr/>
          <p:nvPr/>
        </p:nvSpPr>
        <p:spPr>
          <a:xfrm>
            <a:off x="7716184" y="3408653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C3B4C061-FFB8-4FF4-AAEF-6999BA2584BE}"/>
              </a:ext>
            </a:extLst>
          </p:cNvPr>
          <p:cNvCxnSpPr>
            <a:cxnSpLocks/>
          </p:cNvCxnSpPr>
          <p:nvPr/>
        </p:nvCxnSpPr>
        <p:spPr>
          <a:xfrm>
            <a:off x="7358345" y="3632048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F4D9C181-9FE9-4EAD-B3F7-F9F11D9E0546}"/>
              </a:ext>
            </a:extLst>
          </p:cNvPr>
          <p:cNvSpPr/>
          <p:nvPr/>
        </p:nvSpPr>
        <p:spPr>
          <a:xfrm>
            <a:off x="7302822" y="3328235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15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EB7FF55A-7557-494D-A2E2-8BD2ECCC03BD}"/>
              </a:ext>
            </a:extLst>
          </p:cNvPr>
          <p:cNvSpPr/>
          <p:nvPr/>
        </p:nvSpPr>
        <p:spPr>
          <a:xfrm>
            <a:off x="7716184" y="4091127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8C4B7284-1BD2-461F-8553-16230AAB5013}"/>
              </a:ext>
            </a:extLst>
          </p:cNvPr>
          <p:cNvCxnSpPr>
            <a:cxnSpLocks/>
          </p:cNvCxnSpPr>
          <p:nvPr/>
        </p:nvCxnSpPr>
        <p:spPr>
          <a:xfrm>
            <a:off x="7358345" y="4316749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DB8A3576-EF2A-43EB-A86F-92450F9469DD}"/>
              </a:ext>
            </a:extLst>
          </p:cNvPr>
          <p:cNvSpPr/>
          <p:nvPr/>
        </p:nvSpPr>
        <p:spPr>
          <a:xfrm>
            <a:off x="7302822" y="4012936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20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EE7AA7D-5EB6-4AA2-915B-D16BDC1F4B02}"/>
              </a:ext>
            </a:extLst>
          </p:cNvPr>
          <p:cNvCxnSpPr/>
          <p:nvPr/>
        </p:nvCxnSpPr>
        <p:spPr>
          <a:xfrm>
            <a:off x="606753" y="3909834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itle 1">
            <a:extLst>
              <a:ext uri="{FF2B5EF4-FFF2-40B4-BE49-F238E27FC236}">
                <a16:creationId xmlns:a16="http://schemas.microsoft.com/office/drawing/2014/main" id="{31F89735-73E5-442B-884A-95E8DA0D74E4}"/>
              </a:ext>
            </a:extLst>
          </p:cNvPr>
          <p:cNvSpPr txBox="1">
            <a:spLocks/>
          </p:cNvSpPr>
          <p:nvPr/>
        </p:nvSpPr>
        <p:spPr>
          <a:xfrm>
            <a:off x="551738" y="3194209"/>
            <a:ext cx="1783689" cy="4555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200"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9E290001-EF7A-4828-B89D-A96171AEE2A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220" y="363125"/>
            <a:ext cx="1073080" cy="455405"/>
          </a:xfrm>
          <a:prstGeom prst="rect">
            <a:avLst/>
          </a:prstGeom>
          <a:noFill/>
          <a:ln>
            <a:noFill/>
          </a:ln>
        </p:spPr>
      </p:pic>
      <p:sp>
        <p:nvSpPr>
          <p:cNvPr id="76" name="Rectangle 75">
            <a:extLst>
              <a:ext uri="{FF2B5EF4-FFF2-40B4-BE49-F238E27FC236}">
                <a16:creationId xmlns:a16="http://schemas.microsoft.com/office/drawing/2014/main" id="{0CDDDA25-F1DA-46F7-B07A-26DAE09F7311}"/>
              </a:ext>
            </a:extLst>
          </p:cNvPr>
          <p:cNvSpPr/>
          <p:nvPr/>
        </p:nvSpPr>
        <p:spPr>
          <a:xfrm>
            <a:off x="3332799" y="5995815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 dirty="0">
                <a:solidFill>
                  <a:srgbClr val="D82435"/>
                </a:solidFill>
                <a:latin typeface="Nexa Bold" panose="02000000000000000000" pitchFamily="50" charset="0"/>
              </a:rPr>
              <a:t>APPENDIX A  </a:t>
            </a:r>
            <a:r>
              <a:rPr lang="en-ID" sz="1100" dirty="0">
                <a:solidFill>
                  <a:srgbClr val="D82435"/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0BBD00E-630D-4505-84EF-235136F3C60C}"/>
              </a:ext>
            </a:extLst>
          </p:cNvPr>
          <p:cNvSpPr/>
          <p:nvPr/>
        </p:nvSpPr>
        <p:spPr>
          <a:xfrm>
            <a:off x="3332799" y="6291366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 dirty="0">
                <a:solidFill>
                  <a:srgbClr val="D82435"/>
                </a:solidFill>
                <a:latin typeface="Nexa Bold" panose="02000000000000000000" pitchFamily="50" charset="0"/>
              </a:rPr>
              <a:t>APPENDIX B  </a:t>
            </a:r>
            <a:r>
              <a:rPr lang="en-ID" sz="1100" dirty="0">
                <a:solidFill>
                  <a:srgbClr val="D82435"/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464CC38A-8E58-42FB-A004-DCDDAC1F5BE0}"/>
              </a:ext>
            </a:extLst>
          </p:cNvPr>
          <p:cNvSpPr/>
          <p:nvPr/>
        </p:nvSpPr>
        <p:spPr>
          <a:xfrm>
            <a:off x="7312742" y="5993699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 dirty="0">
                <a:solidFill>
                  <a:srgbClr val="D82435"/>
                </a:solidFill>
                <a:latin typeface="Nexa Bold" panose="02000000000000000000" pitchFamily="50" charset="0"/>
              </a:rPr>
              <a:t>APPENDIX C  </a:t>
            </a:r>
            <a:r>
              <a:rPr lang="en-ID" sz="1100" dirty="0">
                <a:solidFill>
                  <a:srgbClr val="D82435"/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C85CECD-FD07-4B8A-BA45-05F0E8718B0D}"/>
              </a:ext>
            </a:extLst>
          </p:cNvPr>
          <p:cNvSpPr/>
          <p:nvPr/>
        </p:nvSpPr>
        <p:spPr>
          <a:xfrm>
            <a:off x="7312742" y="6289249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 dirty="0">
                <a:solidFill>
                  <a:srgbClr val="D82435"/>
                </a:solidFill>
                <a:latin typeface="Nexa Bold" panose="02000000000000000000" pitchFamily="50" charset="0"/>
              </a:rPr>
              <a:t>APPENDIX D  </a:t>
            </a:r>
            <a:r>
              <a:rPr lang="en-ID" sz="1100" b="0" dirty="0">
                <a:solidFill>
                  <a:srgbClr val="D82435"/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5AB63BEF-B171-418D-AEC9-537BFB0D7E15}"/>
              </a:ext>
            </a:extLst>
          </p:cNvPr>
          <p:cNvSpPr/>
          <p:nvPr/>
        </p:nvSpPr>
        <p:spPr>
          <a:xfrm>
            <a:off x="4355142" y="5995815"/>
            <a:ext cx="184630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F1FF25D-E6AB-49C5-8D12-5E5CDF76A078}"/>
              </a:ext>
            </a:extLst>
          </p:cNvPr>
          <p:cNvSpPr/>
          <p:nvPr/>
        </p:nvSpPr>
        <p:spPr>
          <a:xfrm>
            <a:off x="4355141" y="6291365"/>
            <a:ext cx="1846303" cy="2073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06B480D9-4CB4-4A86-BE49-CDE3D1C0469A}"/>
              </a:ext>
            </a:extLst>
          </p:cNvPr>
          <p:cNvSpPr/>
          <p:nvPr/>
        </p:nvSpPr>
        <p:spPr>
          <a:xfrm>
            <a:off x="8335084" y="5993698"/>
            <a:ext cx="1846303" cy="2073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7E96864E-A4D1-4B54-AA86-267F4EC0C780}"/>
              </a:ext>
            </a:extLst>
          </p:cNvPr>
          <p:cNvSpPr/>
          <p:nvPr/>
        </p:nvSpPr>
        <p:spPr>
          <a:xfrm>
            <a:off x="8335084" y="6289248"/>
            <a:ext cx="1846303" cy="2073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48" name="Footer Placeholder 4">
            <a:extLst>
              <a:ext uri="{FF2B5EF4-FFF2-40B4-BE49-F238E27FC236}">
                <a16:creationId xmlns:a16="http://schemas.microsoft.com/office/drawing/2014/main" id="{BBEFAD99-8805-49F8-BCDE-765A5F378CAC}"/>
              </a:ext>
            </a:extLst>
          </p:cNvPr>
          <p:cNvSpPr txBox="1">
            <a:spLocks/>
          </p:cNvSpPr>
          <p:nvPr/>
        </p:nvSpPr>
        <p:spPr>
          <a:xfrm>
            <a:off x="11295586" y="6341710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CONFIDINTIAL</a:t>
            </a:r>
          </a:p>
        </p:txBody>
      </p:sp>
    </p:spTree>
    <p:extLst>
      <p:ext uri="{BB962C8B-B14F-4D97-AF65-F5344CB8AC3E}">
        <p14:creationId xmlns:p14="http://schemas.microsoft.com/office/powerpoint/2010/main" val="30801390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BCA03C-12FE-40A5-B9ED-38586D724B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8833B5-10FA-482F-849E-6FEF1946C244}" type="datetime1">
              <a:rPr lang="id-ID" smtClean="0"/>
              <a:t>20/08/2025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F3D11F1-1028-4CBF-BA8D-72D096D00C6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8" r="11655" b="314"/>
          <a:stretch/>
        </p:blipFill>
        <p:spPr>
          <a:xfrm>
            <a:off x="1" y="-2"/>
            <a:ext cx="8738898" cy="6858000"/>
          </a:xfrm>
          <a:custGeom>
            <a:avLst/>
            <a:gdLst>
              <a:gd name="connsiteX0" fmla="*/ 0 w 8738898"/>
              <a:gd name="connsiteY0" fmla="*/ 0 h 6858000"/>
              <a:gd name="connsiteX1" fmla="*/ 7015393 w 8738898"/>
              <a:gd name="connsiteY1" fmla="*/ 0 h 6858000"/>
              <a:gd name="connsiteX2" fmla="*/ 8355773 w 8738898"/>
              <a:gd name="connsiteY2" fmla="*/ 1653189 h 6858000"/>
              <a:gd name="connsiteX3" fmla="*/ 8355773 w 8738898"/>
              <a:gd name="connsiteY3" fmla="*/ 3934802 h 6858000"/>
              <a:gd name="connsiteX4" fmla="*/ 5985690 w 8738898"/>
              <a:gd name="connsiteY4" fmla="*/ 6858000 h 6858000"/>
              <a:gd name="connsiteX5" fmla="*/ 0 w 873889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38898" h="6858000">
                <a:moveTo>
                  <a:pt x="0" y="0"/>
                </a:moveTo>
                <a:lnTo>
                  <a:pt x="7015393" y="0"/>
                </a:lnTo>
                <a:lnTo>
                  <a:pt x="8355773" y="1653189"/>
                </a:lnTo>
                <a:cubicBezTo>
                  <a:pt x="8866607" y="2283239"/>
                  <a:pt x="8866607" y="3304752"/>
                  <a:pt x="8355773" y="3934802"/>
                </a:cubicBezTo>
                <a:lnTo>
                  <a:pt x="5985690" y="6858000"/>
                </a:lnTo>
                <a:lnTo>
                  <a:pt x="0" y="6858000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9" name="Freeform 7">
            <a:extLst>
              <a:ext uri="{FF2B5EF4-FFF2-40B4-BE49-F238E27FC236}">
                <a16:creationId xmlns:a16="http://schemas.microsoft.com/office/drawing/2014/main" id="{AF9512CB-441F-4B5E-A0FE-7FF7F37BB36D}"/>
              </a:ext>
            </a:extLst>
          </p:cNvPr>
          <p:cNvSpPr/>
          <p:nvPr/>
        </p:nvSpPr>
        <p:spPr>
          <a:xfrm>
            <a:off x="1" y="0"/>
            <a:ext cx="8738898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72000">
                <a:srgbClr val="D82435">
                  <a:alpha val="11000"/>
                </a:srgbClr>
              </a:gs>
              <a:gs pos="13000">
                <a:srgbClr val="D8243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CEF01BE-9E42-4FE5-9487-09C60C3184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1109" y="5841308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0ED1571-09CD-4BAD-9843-28D6F1C4DDFE}"/>
              </a:ext>
            </a:extLst>
          </p:cNvPr>
          <p:cNvCxnSpPr/>
          <p:nvPr/>
        </p:nvCxnSpPr>
        <p:spPr>
          <a:xfrm>
            <a:off x="606753" y="4164118"/>
            <a:ext cx="794544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DA3CF038-BE9C-4CEC-9473-D8B819549F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6753" y="3422844"/>
            <a:ext cx="7261106" cy="455509"/>
          </a:xfr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3200" dirty="0">
                <a:solidFill>
                  <a:schemeClr val="bg1"/>
                </a:solidFill>
                <a:latin typeface="Nexa Bold" panose="02000000000000000000" pitchFamily="50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D5A7A42-02BD-478F-A339-9EF1ABDE7D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6753" y="4456039"/>
            <a:ext cx="4112533" cy="423193"/>
          </a:xfrm>
        </p:spPr>
        <p:txBody>
          <a:bodyPr vert="horz" wrap="square" lIns="0" tIns="0" rIns="0" bIns="0" rtlCol="0">
            <a:spAutoFit/>
          </a:bodyPr>
          <a:lstStyle>
            <a:lvl1pPr marL="0" indent="0" algn="l">
              <a:buNone/>
              <a:defRPr lang="en-US" sz="2000" dirty="0">
                <a:solidFill>
                  <a:schemeClr val="bg1"/>
                </a:solidFill>
                <a:latin typeface="Nexa Light" panose="02000000000000000000" pitchFamily="50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5F20BA5-BA09-4744-A5C4-E7000B8EE2C0}"/>
              </a:ext>
            </a:extLst>
          </p:cNvPr>
          <p:cNvSpPr txBox="1">
            <a:spLocks/>
          </p:cNvSpPr>
          <p:nvPr/>
        </p:nvSpPr>
        <p:spPr>
          <a:xfrm>
            <a:off x="538385" y="6391866"/>
            <a:ext cx="5657852" cy="172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en-GB" dirty="0">
                <a:solidFill>
                  <a:prstClr val="white"/>
                </a:solidFill>
                <a:ea typeface="Helvetica Neue" charset="0"/>
                <a:cs typeface="Helvetica Neue" charset="0"/>
              </a:rPr>
              <a:t>This document is confidential and any unauthorized use without the permission of Kafa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539042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888">
          <p15:clr>
            <a:srgbClr val="FBAE40"/>
          </p15:clr>
        </p15:guide>
        <p15:guide id="4" orient="horz" pos="2260">
          <p15:clr>
            <a:srgbClr val="FBAE40"/>
          </p15:clr>
        </p15:guide>
        <p15:guide id="5" pos="168">
          <p15:clr>
            <a:srgbClr val="FBAE40"/>
          </p15:clr>
        </p15:guide>
        <p15:guide id="6" pos="7512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6">
            <a:extLst>
              <a:ext uri="{FF2B5EF4-FFF2-40B4-BE49-F238E27FC236}">
                <a16:creationId xmlns:a16="http://schemas.microsoft.com/office/drawing/2014/main" id="{A9E1E493-8350-430A-877B-88213893A13A}"/>
              </a:ext>
            </a:extLst>
          </p:cNvPr>
          <p:cNvSpPr/>
          <p:nvPr/>
        </p:nvSpPr>
        <p:spPr>
          <a:xfrm>
            <a:off x="16735" y="0"/>
            <a:ext cx="8738898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2A8495-68FC-463B-B919-DBE944FDC4F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6914" y="5841308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B02EE97-7C08-42D0-AC49-C893539184F9}"/>
              </a:ext>
            </a:extLst>
          </p:cNvPr>
          <p:cNvCxnSpPr/>
          <p:nvPr/>
        </p:nvCxnSpPr>
        <p:spPr>
          <a:xfrm>
            <a:off x="275943" y="4164118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1">
            <a:extLst>
              <a:ext uri="{FF2B5EF4-FFF2-40B4-BE49-F238E27FC236}">
                <a16:creationId xmlns:a16="http://schemas.microsoft.com/office/drawing/2014/main" id="{82EEDA8E-A90A-4D44-825A-05C74F95F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461" y="2889205"/>
            <a:ext cx="8196108" cy="512448"/>
          </a:xfrm>
        </p:spPr>
        <p:txBody>
          <a:bodyPr vert="horz" wrap="square" lIns="0" tIns="0" rIns="0" bIns="0" rtlCol="0" anchor="t">
            <a:spAutoFit/>
          </a:bodyPr>
          <a:lstStyle>
            <a:lvl1pPr algn="l" rtl="1">
              <a:defRPr lang="en-US"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ABA04E7-C09E-472D-A5A0-6C553F17BE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8461" y="3654773"/>
            <a:ext cx="7886392" cy="364202"/>
          </a:xfrm>
        </p:spPr>
        <p:txBody>
          <a:bodyPr vert="horz" wrap="square" lIns="0" tIns="0" rIns="0" bIns="0" rtlCol="0">
            <a:spAutoFit/>
          </a:bodyPr>
          <a:lstStyle>
            <a:lvl1pPr marL="0" indent="0" algn="l" rtl="1">
              <a:buNone/>
              <a:defRPr lang="en-US" sz="1800" smtClean="0">
                <a:solidFill>
                  <a:srgbClr val="D82435"/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006160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0A554A07-6BDD-490E-B32C-6F96CE61FF7D}"/>
              </a:ext>
            </a:extLst>
          </p:cNvPr>
          <p:cNvGrpSpPr/>
          <p:nvPr/>
        </p:nvGrpSpPr>
        <p:grpSpPr>
          <a:xfrm flipH="1">
            <a:off x="0" y="0"/>
            <a:ext cx="12215937" cy="6960075"/>
            <a:chOff x="1" y="-30631"/>
            <a:chExt cx="10049567" cy="672161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21C32B9-3999-4416-86E2-A65BAA169F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" y="-30630"/>
              <a:ext cx="10049566" cy="6709681"/>
            </a:xfrm>
            <a:prstGeom prst="rect">
              <a:avLst/>
            </a:prstGeom>
          </p:spPr>
        </p:pic>
        <p:sp>
          <p:nvSpPr>
            <p:cNvPr id="9" name="Freeform 16">
              <a:extLst>
                <a:ext uri="{FF2B5EF4-FFF2-40B4-BE49-F238E27FC236}">
                  <a16:creationId xmlns:a16="http://schemas.microsoft.com/office/drawing/2014/main" id="{FEB2627B-B1B7-43AF-847E-A00AAF1B5FDC}"/>
                </a:ext>
              </a:extLst>
            </p:cNvPr>
            <p:cNvSpPr/>
            <p:nvPr/>
          </p:nvSpPr>
          <p:spPr>
            <a:xfrm>
              <a:off x="1" y="-30631"/>
              <a:ext cx="9283396" cy="6709681"/>
            </a:xfrm>
            <a:custGeom>
              <a:avLst/>
              <a:gdLst>
                <a:gd name="connsiteX0" fmla="*/ 0 w 10778328"/>
                <a:gd name="connsiteY0" fmla="*/ 0 h 6858000"/>
                <a:gd name="connsiteX1" fmla="*/ 8652602 w 10778328"/>
                <a:gd name="connsiteY1" fmla="*/ 0 h 6858000"/>
                <a:gd name="connsiteX2" fmla="*/ 10305791 w 10778328"/>
                <a:gd name="connsiteY2" fmla="*/ 1653189 h 6858000"/>
                <a:gd name="connsiteX3" fmla="*/ 10305791 w 10778328"/>
                <a:gd name="connsiteY3" fmla="*/ 3934802 h 6858000"/>
                <a:gd name="connsiteX4" fmla="*/ 7382593 w 10778328"/>
                <a:gd name="connsiteY4" fmla="*/ 6858000 h 6858000"/>
                <a:gd name="connsiteX5" fmla="*/ 0 w 10778328"/>
                <a:gd name="connsiteY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78328" h="6858000">
                  <a:moveTo>
                    <a:pt x="0" y="0"/>
                  </a:moveTo>
                  <a:lnTo>
                    <a:pt x="8652602" y="0"/>
                  </a:lnTo>
                  <a:lnTo>
                    <a:pt x="10305791" y="1653189"/>
                  </a:lnTo>
                  <a:cubicBezTo>
                    <a:pt x="10935841" y="2283239"/>
                    <a:pt x="10935841" y="3304752"/>
                    <a:pt x="10305791" y="3934802"/>
                  </a:cubicBezTo>
                  <a:lnTo>
                    <a:pt x="7382593" y="6858000"/>
                  </a:lnTo>
                  <a:lnTo>
                    <a:pt x="0" y="6858000"/>
                  </a:lnTo>
                  <a:close/>
                </a:path>
              </a:pathLst>
            </a:custGeom>
            <a:gradFill>
              <a:gsLst>
                <a:gs pos="80000">
                  <a:schemeClr val="bg1"/>
                </a:gs>
                <a:gs pos="21000">
                  <a:schemeClr val="bg1">
                    <a:alpha val="44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801"/>
            </a:p>
          </p:txBody>
        </p:sp>
        <p:sp>
          <p:nvSpPr>
            <p:cNvPr id="10" name="Freeform 17">
              <a:extLst>
                <a:ext uri="{FF2B5EF4-FFF2-40B4-BE49-F238E27FC236}">
                  <a16:creationId xmlns:a16="http://schemas.microsoft.com/office/drawing/2014/main" id="{177BD577-9DD5-431F-A945-B479AFDA80FD}"/>
                </a:ext>
              </a:extLst>
            </p:cNvPr>
            <p:cNvSpPr/>
            <p:nvPr/>
          </p:nvSpPr>
          <p:spPr>
            <a:xfrm>
              <a:off x="1128351" y="-30630"/>
              <a:ext cx="8921217" cy="6721615"/>
            </a:xfrm>
            <a:custGeom>
              <a:avLst/>
              <a:gdLst>
                <a:gd name="connsiteX0" fmla="*/ 86343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7367004 w 12192000"/>
                <a:gd name="connsiteY3" fmla="*/ 6858000 h 6858000"/>
                <a:gd name="connsiteX4" fmla="*/ 10284029 w 12192000"/>
                <a:gd name="connsiteY4" fmla="*/ 3934802 h 6858000"/>
                <a:gd name="connsiteX5" fmla="*/ 10284029 w 12192000"/>
                <a:gd name="connsiteY5" fmla="*/ 1653189 h 6858000"/>
                <a:gd name="connsiteX6" fmla="*/ 0 w 12192000"/>
                <a:gd name="connsiteY6" fmla="*/ 0 h 6858000"/>
                <a:gd name="connsiteX7" fmla="*/ 1 w 12192000"/>
                <a:gd name="connsiteY7" fmla="*/ 0 h 6858000"/>
                <a:gd name="connsiteX8" fmla="*/ 1 w 12192000"/>
                <a:gd name="connsiteY8" fmla="*/ 6858000 h 6858000"/>
                <a:gd name="connsiteX9" fmla="*/ 0 w 12192000"/>
                <a:gd name="connsiteY9" fmla="*/ 6858000 h 6858000"/>
                <a:gd name="connsiteX0" fmla="*/ 86343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7186405 w 12192000"/>
                <a:gd name="connsiteY3" fmla="*/ 6858000 h 6858000"/>
                <a:gd name="connsiteX4" fmla="*/ 10284029 w 12192000"/>
                <a:gd name="connsiteY4" fmla="*/ 3934802 h 6858000"/>
                <a:gd name="connsiteX5" fmla="*/ 10284029 w 12192000"/>
                <a:gd name="connsiteY5" fmla="*/ 1653189 h 6858000"/>
                <a:gd name="connsiteX6" fmla="*/ 8634331 w 12192000"/>
                <a:gd name="connsiteY6" fmla="*/ 0 h 6858000"/>
                <a:gd name="connsiteX7" fmla="*/ 0 w 12192000"/>
                <a:gd name="connsiteY7" fmla="*/ 0 h 6858000"/>
                <a:gd name="connsiteX8" fmla="*/ 1 w 12192000"/>
                <a:gd name="connsiteY8" fmla="*/ 0 h 6858000"/>
                <a:gd name="connsiteX9" fmla="*/ 1 w 12192000"/>
                <a:gd name="connsiteY9" fmla="*/ 6858000 h 6858000"/>
                <a:gd name="connsiteX10" fmla="*/ 0 w 12192000"/>
                <a:gd name="connsiteY10" fmla="*/ 6858000 h 6858000"/>
                <a:gd name="connsiteX11" fmla="*/ 0 w 12192000"/>
                <a:gd name="connsiteY11" fmla="*/ 0 h 6858000"/>
                <a:gd name="connsiteX0" fmla="*/ 8634331 w 12192000"/>
                <a:gd name="connsiteY0" fmla="*/ 0 h 6870197"/>
                <a:gd name="connsiteX1" fmla="*/ 12192000 w 12192000"/>
                <a:gd name="connsiteY1" fmla="*/ 0 h 6870197"/>
                <a:gd name="connsiteX2" fmla="*/ 12192000 w 12192000"/>
                <a:gd name="connsiteY2" fmla="*/ 6858000 h 6870197"/>
                <a:gd name="connsiteX3" fmla="*/ 7103051 w 12192000"/>
                <a:gd name="connsiteY3" fmla="*/ 6870197 h 6870197"/>
                <a:gd name="connsiteX4" fmla="*/ 10284029 w 12192000"/>
                <a:gd name="connsiteY4" fmla="*/ 3934802 h 6870197"/>
                <a:gd name="connsiteX5" fmla="*/ 10284029 w 12192000"/>
                <a:gd name="connsiteY5" fmla="*/ 1653189 h 6870197"/>
                <a:gd name="connsiteX6" fmla="*/ 8634331 w 12192000"/>
                <a:gd name="connsiteY6" fmla="*/ 0 h 6870197"/>
                <a:gd name="connsiteX7" fmla="*/ 0 w 12192000"/>
                <a:gd name="connsiteY7" fmla="*/ 0 h 6870197"/>
                <a:gd name="connsiteX8" fmla="*/ 1 w 12192000"/>
                <a:gd name="connsiteY8" fmla="*/ 0 h 6870197"/>
                <a:gd name="connsiteX9" fmla="*/ 1 w 12192000"/>
                <a:gd name="connsiteY9" fmla="*/ 6858000 h 6870197"/>
                <a:gd name="connsiteX10" fmla="*/ 0 w 12192000"/>
                <a:gd name="connsiteY10" fmla="*/ 6858000 h 6870197"/>
                <a:gd name="connsiteX11" fmla="*/ 0 w 12192000"/>
                <a:gd name="connsiteY11" fmla="*/ 0 h 6870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192000" h="6870197">
                  <a:moveTo>
                    <a:pt x="8634331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7103051" y="6870197"/>
                  </a:lnTo>
                  <a:cubicBezTo>
                    <a:pt x="8075393" y="5895798"/>
                    <a:pt x="9311687" y="4909201"/>
                    <a:pt x="10284029" y="3934802"/>
                  </a:cubicBezTo>
                  <a:cubicBezTo>
                    <a:pt x="10912748" y="3304752"/>
                    <a:pt x="10912748" y="2283239"/>
                    <a:pt x="10284029" y="1653189"/>
                  </a:cubicBezTo>
                  <a:lnTo>
                    <a:pt x="8634331" y="0"/>
                  </a:lnTo>
                  <a:close/>
                  <a:moveTo>
                    <a:pt x="0" y="0"/>
                  </a:moveTo>
                  <a:lnTo>
                    <a:pt x="1" y="0"/>
                  </a:lnTo>
                  <a:lnTo>
                    <a:pt x="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72000">
                  <a:srgbClr val="D82435">
                    <a:alpha val="11000"/>
                  </a:srgbClr>
                </a:gs>
                <a:gs pos="13000">
                  <a:srgbClr val="D82435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1" dirty="0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D9DBCECE-F207-4B6A-B471-E08E4AF45089}"/>
              </a:ext>
            </a:extLst>
          </p:cNvPr>
          <p:cNvSpPr txBox="1"/>
          <p:nvPr/>
        </p:nvSpPr>
        <p:spPr>
          <a:xfrm>
            <a:off x="7186743" y="3456002"/>
            <a:ext cx="4343400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 rtl="1"/>
            <a:r>
              <a:rPr lang="ar-SA" sz="3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LT Arabic 55 Roman" charset="0"/>
                <a:ea typeface="Helvetica Neue LT Arabic 55 Roman" charset="0"/>
                <a:cs typeface="Helvetica Neue LT Arabic 55 Roman" charset="0"/>
              </a:rPr>
              <a:t>شكراً</a:t>
            </a:r>
            <a:endParaRPr lang="id-ID" sz="3200" b="0">
              <a:solidFill>
                <a:schemeClr val="tx1">
                  <a:lumMod val="85000"/>
                  <a:lumOff val="15000"/>
                </a:schemeClr>
              </a:solidFill>
              <a:latin typeface="Helvetica Neue LT Arabic 55 Roman" charset="0"/>
              <a:ea typeface="Helvetica Neue LT Arabic 55 Roman" charset="0"/>
              <a:cs typeface="Helvetica Neue LT Arabic 55 Roman" charset="0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67F4D057-0411-44BE-9A34-9F6F4E68953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6709" y="351026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F743CF8-DD56-4E9A-882F-021EF52CEEF1}"/>
              </a:ext>
            </a:extLst>
          </p:cNvPr>
          <p:cNvCxnSpPr/>
          <p:nvPr/>
        </p:nvCxnSpPr>
        <p:spPr>
          <a:xfrm>
            <a:off x="603376" y="4164118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815798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 flipH="1">
            <a:off x="0" y="6089129"/>
            <a:ext cx="12192000" cy="768872"/>
            <a:chOff x="0" y="6089129"/>
            <a:chExt cx="12192000" cy="768872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A33FB863-B6FC-4903-AA2B-8F2B42F29C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663" b="4005"/>
            <a:stretch/>
          </p:blipFill>
          <p:spPr>
            <a:xfrm>
              <a:off x="1" y="6089129"/>
              <a:ext cx="3492938" cy="57517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8A7AAA6-F018-42CC-9C9A-D7B8DE5394E9}"/>
                </a:ext>
              </a:extLst>
            </p:cNvPr>
            <p:cNvSpPr/>
            <p:nvPr/>
          </p:nvSpPr>
          <p:spPr>
            <a:xfrm>
              <a:off x="0" y="6664301"/>
              <a:ext cx="12192000" cy="193700"/>
            </a:xfrm>
            <a:prstGeom prst="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D6B9D9D-48BA-4E72-90A7-DDCDA12AAAAD}"/>
                </a:ext>
              </a:extLst>
            </p:cNvPr>
            <p:cNvSpPr/>
            <p:nvPr/>
          </p:nvSpPr>
          <p:spPr>
            <a:xfrm>
              <a:off x="596644" y="6660798"/>
              <a:ext cx="337791" cy="197202"/>
            </a:xfrm>
            <a:prstGeom prst="rect">
              <a:avLst/>
            </a:prstGeom>
            <a:solidFill>
              <a:srgbClr val="D8243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896ABEF7-CA89-4E60-A396-3B62DD78E72B}"/>
              </a:ext>
            </a:extLst>
          </p:cNvPr>
          <p:cNvSpPr txBox="1">
            <a:spLocks/>
          </p:cNvSpPr>
          <p:nvPr/>
        </p:nvSpPr>
        <p:spPr>
          <a:xfrm>
            <a:off x="642957" y="6697853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srgbClr val="3F3F3F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Slide Number Placeholder 10">
            <a:extLst>
              <a:ext uri="{FF2B5EF4-FFF2-40B4-BE49-F238E27FC236}">
                <a16:creationId xmlns:a16="http://schemas.microsoft.com/office/drawing/2014/main" id="{E8CF9FCF-B15C-4BEB-995E-CE1C2C9DCBE9}"/>
              </a:ext>
            </a:extLst>
          </p:cNvPr>
          <p:cNvSpPr txBox="1">
            <a:spLocks/>
          </p:cNvSpPr>
          <p:nvPr/>
        </p:nvSpPr>
        <p:spPr>
          <a:xfrm>
            <a:off x="642957" y="6697853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srgbClr val="3F3F3F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Slide Number Placeholder 10">
            <a:extLst>
              <a:ext uri="{FF2B5EF4-FFF2-40B4-BE49-F238E27FC236}">
                <a16:creationId xmlns:a16="http://schemas.microsoft.com/office/drawing/2014/main" id="{95768667-ECF0-46AA-B80E-6B592E20BE59}"/>
              </a:ext>
            </a:extLst>
          </p:cNvPr>
          <p:cNvSpPr txBox="1">
            <a:spLocks/>
          </p:cNvSpPr>
          <p:nvPr/>
        </p:nvSpPr>
        <p:spPr>
          <a:xfrm>
            <a:off x="655314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srgbClr val="3F3F3F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Slide Number Placeholder 10">
            <a:extLst>
              <a:ext uri="{FF2B5EF4-FFF2-40B4-BE49-F238E27FC236}">
                <a16:creationId xmlns:a16="http://schemas.microsoft.com/office/drawing/2014/main" id="{0B348C7C-67EA-4F6F-A541-0082E7F3F224}"/>
              </a:ext>
            </a:extLst>
          </p:cNvPr>
          <p:cNvSpPr txBox="1">
            <a:spLocks/>
          </p:cNvSpPr>
          <p:nvPr/>
        </p:nvSpPr>
        <p:spPr>
          <a:xfrm>
            <a:off x="642957" y="6697853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srgbClr val="3F3F3F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Slide Number Placeholder 10">
            <a:extLst>
              <a:ext uri="{FF2B5EF4-FFF2-40B4-BE49-F238E27FC236}">
                <a16:creationId xmlns:a16="http://schemas.microsoft.com/office/drawing/2014/main" id="{0D8F3109-EB36-4560-BC1F-4CF07BE97CB3}"/>
              </a:ext>
            </a:extLst>
          </p:cNvPr>
          <p:cNvSpPr txBox="1">
            <a:spLocks/>
          </p:cNvSpPr>
          <p:nvPr/>
        </p:nvSpPr>
        <p:spPr>
          <a:xfrm>
            <a:off x="642957" y="6697853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srgbClr val="3F3F3F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Slide Number Placeholder 10">
            <a:extLst>
              <a:ext uri="{FF2B5EF4-FFF2-40B4-BE49-F238E27FC236}">
                <a16:creationId xmlns:a16="http://schemas.microsoft.com/office/drawing/2014/main" id="{1D0936C6-9F21-4657-9788-7279A40C25CA}"/>
              </a:ext>
            </a:extLst>
          </p:cNvPr>
          <p:cNvSpPr txBox="1">
            <a:spLocks/>
          </p:cNvSpPr>
          <p:nvPr/>
        </p:nvSpPr>
        <p:spPr>
          <a:xfrm>
            <a:off x="655314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srgbClr val="3F3F3F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003373-1794-42BB-8A2E-B64962B20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296" y="365126"/>
            <a:ext cx="10955709" cy="6005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F634C9-8108-43DA-8F71-0985176D05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  <a:lvl5pPr>
              <a:spcAft>
                <a:spcPts val="12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F1007C03-1B49-4195-87D9-C2D07D472557}"/>
              </a:ext>
            </a:extLst>
          </p:cNvPr>
          <p:cNvSpPr txBox="1">
            <a:spLocks/>
          </p:cNvSpPr>
          <p:nvPr/>
        </p:nvSpPr>
        <p:spPr>
          <a:xfrm>
            <a:off x="11314337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srgbClr val="3F3F3F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6F4544B-0D22-43A3-93EF-F88095C56C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052382"/>
            <a:ext cx="10953750" cy="260877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D82435"/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1"/>
                </a:solidFill>
                <a:latin typeface="Nexa Light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E616E8FE-F2C0-40A6-8B57-4D9A3BF27C12}"/>
              </a:ext>
            </a:extLst>
          </p:cNvPr>
          <p:cNvSpPr txBox="1">
            <a:spLocks/>
          </p:cNvSpPr>
          <p:nvPr/>
        </p:nvSpPr>
        <p:spPr>
          <a:xfrm>
            <a:off x="655314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srgbClr val="3F3F3F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C2CF5F6-652A-40BB-90C3-9A240C532EEE}"/>
              </a:ext>
            </a:extLst>
          </p:cNvPr>
          <p:cNvSpPr/>
          <p:nvPr/>
        </p:nvSpPr>
        <p:spPr>
          <a:xfrm>
            <a:off x="244165" y="6403566"/>
            <a:ext cx="2135590" cy="4638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Slide Number Placeholder 10">
            <a:extLst>
              <a:ext uri="{FF2B5EF4-FFF2-40B4-BE49-F238E27FC236}">
                <a16:creationId xmlns:a16="http://schemas.microsoft.com/office/drawing/2014/main" id="{FE98FCDD-C0A0-4C3D-A399-BBE313786F6D}"/>
              </a:ext>
            </a:extLst>
          </p:cNvPr>
          <p:cNvSpPr txBox="1">
            <a:spLocks/>
          </p:cNvSpPr>
          <p:nvPr/>
        </p:nvSpPr>
        <p:spPr>
          <a:xfrm>
            <a:off x="1837852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srgbClr val="3F3F3F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8071FAD5-2424-4CEC-AE83-E8AD51AE305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6359" y="6453818"/>
            <a:ext cx="936826" cy="397580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Picture 4" descr="Image result for PWC logo png">
            <a:extLst>
              <a:ext uri="{FF2B5EF4-FFF2-40B4-BE49-F238E27FC236}">
                <a16:creationId xmlns:a16="http://schemas.microsoft.com/office/drawing/2014/main" id="{5293D8AE-EFB9-42F0-9C46-D2B5AEA3B0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164" y="6467673"/>
            <a:ext cx="985745" cy="397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Footer Placeholder 4">
            <a:extLst>
              <a:ext uri="{FF2B5EF4-FFF2-40B4-BE49-F238E27FC236}">
                <a16:creationId xmlns:a16="http://schemas.microsoft.com/office/drawing/2014/main" id="{3605F34B-2EB7-474B-8349-E33E1C9BF095}"/>
              </a:ext>
            </a:extLst>
          </p:cNvPr>
          <p:cNvSpPr txBox="1">
            <a:spLocks/>
          </p:cNvSpPr>
          <p:nvPr/>
        </p:nvSpPr>
        <p:spPr>
          <a:xfrm>
            <a:off x="4618609" y="6718851"/>
            <a:ext cx="2935732" cy="121255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600" b="1" i="0" u="none" strike="noStrike" kern="1200" cap="none" spc="0" normalizeH="0" baseline="0" noProof="0" dirty="0">
                <a:ln>
                  <a:noFill/>
                </a:ln>
                <a:solidFill>
                  <a:srgbClr val="D82435"/>
                </a:solidFill>
                <a:effectLst/>
                <a:uLnTx/>
                <a:uFillTx/>
                <a:latin typeface="HelveticaNeueLT Arabic 75 Bold" panose="020B0804020202020204" pitchFamily="34" charset="-78"/>
                <a:ea typeface="+mn-ea"/>
                <a:cs typeface="HelveticaNeueLT Arabic 75 Bold" panose="020B0804020202020204" pitchFamily="34" charset="-78"/>
              </a:rPr>
              <a:t>هذه الوثيقة سرية ويحظر أي استخدام غير مصرح به بدون إذن من شركة "كفاءة" وشركة </a:t>
            </a: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D82435"/>
                </a:solidFill>
                <a:effectLst/>
                <a:uLnTx/>
                <a:uFillTx/>
                <a:latin typeface="HelveticaNeueLT Arabic 75 Bold" panose="020B0804020202020204" pitchFamily="34" charset="-78"/>
                <a:ea typeface="+mn-ea"/>
                <a:cs typeface="HelveticaNeueLT Arabic 75 Bold" panose="020B0804020202020204" pitchFamily="34" charset="-78"/>
              </a:rPr>
              <a:t>pwc </a:t>
            </a:r>
            <a:endParaRPr kumimoji="0" lang="ar-SA" sz="600" b="1" i="0" u="none" strike="noStrike" kern="1200" cap="none" spc="0" normalizeH="0" baseline="0" noProof="0" dirty="0">
              <a:ln>
                <a:noFill/>
              </a:ln>
              <a:solidFill>
                <a:srgbClr val="D82435"/>
              </a:solidFill>
              <a:effectLst/>
              <a:uLnTx/>
              <a:uFillTx/>
              <a:latin typeface="HelveticaNeueLT Arabic 75 Bold" panose="020B0804020202020204" pitchFamily="34" charset="-78"/>
              <a:ea typeface="+mn-ea"/>
              <a:cs typeface="HelveticaNeueLT Arabic 75 Bold" panose="020B0804020202020204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37459275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34327" y="1021095"/>
            <a:ext cx="10721975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326" y="451590"/>
            <a:ext cx="10723348" cy="493200"/>
          </a:xfrm>
        </p:spPr>
        <p:txBody>
          <a:bodyPr lIns="0" tIns="0" rIns="0" bIns="0" anchor="b">
            <a:noAutofit/>
          </a:bodyPr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326" y="1460500"/>
            <a:ext cx="10721976" cy="4716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13" name="Slide Number Placeholder 10"/>
          <p:cNvSpPr txBox="1">
            <a:spLocks/>
          </p:cNvSpPr>
          <p:nvPr/>
        </p:nvSpPr>
        <p:spPr>
          <a:xfrm>
            <a:off x="791332" y="6697844"/>
            <a:ext cx="302400" cy="123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20" name="Rectangle 19"/>
          <p:cNvSpPr/>
          <p:nvPr/>
        </p:nvSpPr>
        <p:spPr>
          <a:xfrm>
            <a:off x="0" y="6718300"/>
            <a:ext cx="12192000" cy="1397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3"/>
          <a:stretch/>
        </p:blipFill>
        <p:spPr>
          <a:xfrm>
            <a:off x="38101" y="6121674"/>
            <a:ext cx="3943349" cy="609031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734326" y="6660798"/>
            <a:ext cx="415743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/>
          </a:p>
        </p:txBody>
      </p:sp>
      <p:sp>
        <p:nvSpPr>
          <p:cNvPr id="24" name="Isosceles Triangle 23"/>
          <p:cNvSpPr/>
          <p:nvPr/>
        </p:nvSpPr>
        <p:spPr>
          <a:xfrm flipV="1">
            <a:off x="10554511" y="6528201"/>
            <a:ext cx="782356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7425" y="6281632"/>
            <a:ext cx="420010" cy="55217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81900" y="6721759"/>
            <a:ext cx="2743200" cy="154799"/>
          </a:xfrm>
        </p:spPr>
        <p:txBody>
          <a:bodyPr tIns="36000" bIns="36000"/>
          <a:lstStyle>
            <a:lvl1pPr rtl="0">
              <a:defRPr sz="700">
                <a:solidFill>
                  <a:srgbClr val="D82435"/>
                </a:solidFill>
              </a:defRPr>
            </a:lvl1pPr>
          </a:lstStyle>
          <a:p>
            <a:fld id="{E64EFF73-A459-4109-B85C-9EE59FA76002}" type="datetime1">
              <a:rPr lang="id-ID" smtClean="0"/>
              <a:t>20/08/2025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42335" y="6721758"/>
            <a:ext cx="4114800" cy="154800"/>
          </a:xfrm>
        </p:spPr>
        <p:txBody>
          <a:bodyPr lIns="0" tIns="36000" rIns="0" bIns="36000" anchor="ctr" anchorCtr="0"/>
          <a:lstStyle>
            <a:lvl1pPr algn="l" rtl="0">
              <a:defRPr sz="700">
                <a:solidFill>
                  <a:srgbClr val="D82435"/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332" y="6676038"/>
            <a:ext cx="302400" cy="170006"/>
          </a:xfrm>
        </p:spPr>
        <p:txBody>
          <a:bodyPr lIns="0" tIns="36000" rIns="0" bIns="36000">
            <a:noAutofit/>
          </a:bodyPr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E60EF5E4-35CF-4C29-B9F8-D683A03DA2A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20947127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9A5C11A-AA32-44D8-AB7B-86C3DF5E1EDF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59871E6-6C54-4DD3-9246-8CC791BC3A3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687985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_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BCA03C-12FE-40A5-B9ED-38586D724B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881562" y="6356350"/>
            <a:ext cx="2743200" cy="365125"/>
          </a:xfrm>
          <a:prstGeom prst="rect">
            <a:avLst/>
          </a:prstGeom>
        </p:spPr>
        <p:txBody>
          <a:bodyPr/>
          <a:lstStyle>
            <a:lvl1pPr algn="r" rtl="1">
              <a:defRPr/>
            </a:lvl1pPr>
          </a:lstStyle>
          <a:p>
            <a:fld id="{EF6898F3-D35A-48E2-935C-A42D3A271FA7}" type="datetime1">
              <a:rPr lang="id-ID" smtClean="0"/>
              <a:t>20/08/2025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F3D11F1-1028-4CBF-BA8D-72D096D00C6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8" r="11655" b="314"/>
          <a:stretch/>
        </p:blipFill>
        <p:spPr>
          <a:xfrm flipH="1">
            <a:off x="2638697" y="-2"/>
            <a:ext cx="9548750" cy="6858000"/>
          </a:xfrm>
          <a:custGeom>
            <a:avLst/>
            <a:gdLst>
              <a:gd name="connsiteX0" fmla="*/ 0 w 8738898"/>
              <a:gd name="connsiteY0" fmla="*/ 0 h 6858000"/>
              <a:gd name="connsiteX1" fmla="*/ 7015393 w 8738898"/>
              <a:gd name="connsiteY1" fmla="*/ 0 h 6858000"/>
              <a:gd name="connsiteX2" fmla="*/ 8355773 w 8738898"/>
              <a:gd name="connsiteY2" fmla="*/ 1653189 h 6858000"/>
              <a:gd name="connsiteX3" fmla="*/ 8355773 w 8738898"/>
              <a:gd name="connsiteY3" fmla="*/ 3934802 h 6858000"/>
              <a:gd name="connsiteX4" fmla="*/ 5985690 w 8738898"/>
              <a:gd name="connsiteY4" fmla="*/ 6858000 h 6858000"/>
              <a:gd name="connsiteX5" fmla="*/ 0 w 873889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38898" h="6858000">
                <a:moveTo>
                  <a:pt x="0" y="0"/>
                </a:moveTo>
                <a:lnTo>
                  <a:pt x="7015393" y="0"/>
                </a:lnTo>
                <a:lnTo>
                  <a:pt x="8355773" y="1653189"/>
                </a:lnTo>
                <a:cubicBezTo>
                  <a:pt x="8866607" y="2283239"/>
                  <a:pt x="8866607" y="3304752"/>
                  <a:pt x="8355773" y="3934802"/>
                </a:cubicBezTo>
                <a:lnTo>
                  <a:pt x="5985690" y="6858000"/>
                </a:lnTo>
                <a:lnTo>
                  <a:pt x="0" y="6858000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9" name="Freeform 7">
            <a:extLst>
              <a:ext uri="{FF2B5EF4-FFF2-40B4-BE49-F238E27FC236}">
                <a16:creationId xmlns:a16="http://schemas.microsoft.com/office/drawing/2014/main" id="{AF9512CB-441F-4B5E-A0FE-7FF7F37BB36D}"/>
              </a:ext>
            </a:extLst>
          </p:cNvPr>
          <p:cNvSpPr/>
          <p:nvPr/>
        </p:nvSpPr>
        <p:spPr>
          <a:xfrm flipH="1">
            <a:off x="2638694" y="0"/>
            <a:ext cx="9548751" cy="6858000"/>
          </a:xfrm>
          <a:custGeom>
            <a:avLst/>
            <a:gdLst>
              <a:gd name="connsiteX0" fmla="*/ 0 w 10778328"/>
              <a:gd name="connsiteY0" fmla="*/ 0 h 6858000"/>
              <a:gd name="connsiteX1" fmla="*/ 8652602 w 10778328"/>
              <a:gd name="connsiteY1" fmla="*/ 0 h 6858000"/>
              <a:gd name="connsiteX2" fmla="*/ 10305791 w 10778328"/>
              <a:gd name="connsiteY2" fmla="*/ 1653189 h 6858000"/>
              <a:gd name="connsiteX3" fmla="*/ 10305791 w 10778328"/>
              <a:gd name="connsiteY3" fmla="*/ 3934802 h 6858000"/>
              <a:gd name="connsiteX4" fmla="*/ 7382593 w 10778328"/>
              <a:gd name="connsiteY4" fmla="*/ 6858000 h 6858000"/>
              <a:gd name="connsiteX5" fmla="*/ 0 w 1077832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78328" h="6858000">
                <a:moveTo>
                  <a:pt x="0" y="0"/>
                </a:moveTo>
                <a:lnTo>
                  <a:pt x="8652602" y="0"/>
                </a:lnTo>
                <a:lnTo>
                  <a:pt x="10305791" y="1653189"/>
                </a:lnTo>
                <a:cubicBezTo>
                  <a:pt x="10935841" y="2283239"/>
                  <a:pt x="10935841" y="3304752"/>
                  <a:pt x="10305791" y="3934802"/>
                </a:cubicBezTo>
                <a:lnTo>
                  <a:pt x="738259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72000">
                <a:srgbClr val="D82435">
                  <a:alpha val="11000"/>
                </a:srgbClr>
              </a:gs>
              <a:gs pos="13000">
                <a:srgbClr val="D8243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CEF01BE-9E42-4FE5-9487-09C60C3184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620" y="5841308"/>
            <a:ext cx="1704191" cy="723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0ED1571-09CD-4BAD-9843-28D6F1C4DDFE}"/>
              </a:ext>
            </a:extLst>
          </p:cNvPr>
          <p:cNvCxnSpPr/>
          <p:nvPr/>
        </p:nvCxnSpPr>
        <p:spPr>
          <a:xfrm>
            <a:off x="10591266" y="4609861"/>
            <a:ext cx="794544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DA3CF038-BE9C-4CEC-9473-D8B819549F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50115" y="3477137"/>
            <a:ext cx="7261106" cy="886397"/>
          </a:xfrm>
        </p:spPr>
        <p:txBody>
          <a:bodyPr vert="horz" wrap="square" lIns="0" tIns="0" rIns="0" bIns="0" rtlCol="0" anchor="ctr">
            <a:spAutoFit/>
          </a:bodyPr>
          <a:lstStyle>
            <a:lvl1pPr algn="r" rtl="1">
              <a:defRPr lang="en-US" sz="3200" dirty="0">
                <a:solidFill>
                  <a:schemeClr val="bg1"/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D5A7A42-02BD-478F-A339-9EF1ABDE7D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98688" y="4666979"/>
            <a:ext cx="4112533" cy="473814"/>
          </a:xfrm>
        </p:spPr>
        <p:txBody>
          <a:bodyPr vert="horz" wrap="square" lIns="0" tIns="0" rIns="0" bIns="0" rtlCol="0">
            <a:spAutoFit/>
          </a:bodyPr>
          <a:lstStyle>
            <a:lvl1pPr marL="0" indent="0" algn="r" rtl="1">
              <a:buNone/>
              <a:defRPr lang="en-US" sz="2000" dirty="0">
                <a:solidFill>
                  <a:schemeClr val="bg1"/>
                </a:solidFill>
                <a:latin typeface="Helvetica Neue LT Std 75" charset="0"/>
                <a:ea typeface="Helvetica Neue LT Std 75" charset="0"/>
                <a:cs typeface="Helvetica Neue LT Std 75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5F20BA5-BA09-4744-A5C4-E7000B8EE2C0}"/>
              </a:ext>
            </a:extLst>
          </p:cNvPr>
          <p:cNvSpPr txBox="1">
            <a:spLocks/>
          </p:cNvSpPr>
          <p:nvPr/>
        </p:nvSpPr>
        <p:spPr>
          <a:xfrm>
            <a:off x="6394620" y="6391866"/>
            <a:ext cx="5657852" cy="172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Nexa Light" panose="020000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b="1" dirty="0">
                <a:solidFill>
                  <a:schemeClr val="bg1"/>
                </a:solidFill>
                <a:latin typeface="HelveticaNeueLT Arabic 75 Bold" panose="020B0804020202020204" pitchFamily="34" charset="-78"/>
                <a:cs typeface="HelveticaNeueLT Arabic 75 Bold" panose="020B0804020202020204" pitchFamily="34" charset="-78"/>
              </a:rPr>
              <a:t>هذه الوثيقة سرية ويحظر أي استخدام غير مصرح به بدون إذن من شركة كفاءة</a:t>
            </a:r>
          </a:p>
        </p:txBody>
      </p:sp>
    </p:spTree>
    <p:extLst>
      <p:ext uri="{BB962C8B-B14F-4D97-AF65-F5344CB8AC3E}">
        <p14:creationId xmlns:p14="http://schemas.microsoft.com/office/powerpoint/2010/main" val="3797263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888">
          <p15:clr>
            <a:srgbClr val="FBAE40"/>
          </p15:clr>
        </p15:guide>
        <p15:guide id="4" orient="horz" pos="2260">
          <p15:clr>
            <a:srgbClr val="FBAE40"/>
          </p15:clr>
        </p15:guide>
        <p15:guide id="5" pos="168">
          <p15:clr>
            <a:srgbClr val="FBAE40"/>
          </p15:clr>
        </p15:guide>
        <p15:guide id="6" pos="7512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1CF7ECE-168F-4A1D-891E-5479314AA79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2A8495-68FC-463B-B919-DBE944FDC4F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055" y="6109144"/>
            <a:ext cx="1073080" cy="45540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8C90FB-41A3-4D31-A98A-54BD8CDC5ECA}"/>
              </a:ext>
            </a:extLst>
          </p:cNvPr>
          <p:cNvCxnSpPr/>
          <p:nvPr/>
        </p:nvCxnSpPr>
        <p:spPr>
          <a:xfrm>
            <a:off x="10528185" y="4158152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DAEAB580-381E-4386-BE1F-08C9B0865525}"/>
              </a:ext>
            </a:extLst>
          </p:cNvPr>
          <p:cNvSpPr txBox="1">
            <a:spLocks/>
          </p:cNvSpPr>
          <p:nvPr/>
        </p:nvSpPr>
        <p:spPr>
          <a:xfrm>
            <a:off x="9581904" y="3442527"/>
            <a:ext cx="1783689" cy="4555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200"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lvl="0" algn="r" rtl="1"/>
            <a:r>
              <a:rPr lang="ar-SA" sz="3200" b="1" dirty="0">
                <a:latin typeface="HelveticaNeueLT Arabic 75 Bold" panose="020B0804020202020204" pitchFamily="34" charset="-78"/>
                <a:cs typeface="HelveticaNeueLT Arabic 75 Bold" panose="020B0804020202020204" pitchFamily="34" charset="-78"/>
              </a:rPr>
              <a:t>المحتوى</a:t>
            </a:r>
            <a:endParaRPr lang="en-US" b="1" dirty="0"/>
          </a:p>
        </p:txBody>
      </p:sp>
      <p:sp>
        <p:nvSpPr>
          <p:cNvPr id="42" name="Footer Placeholder 4">
            <a:extLst>
              <a:ext uri="{FF2B5EF4-FFF2-40B4-BE49-F238E27FC236}">
                <a16:creationId xmlns:a16="http://schemas.microsoft.com/office/drawing/2014/main" id="{05391945-27E2-403F-A98A-D65B2D2D2560}"/>
              </a:ext>
            </a:extLst>
          </p:cNvPr>
          <p:cNvSpPr txBox="1">
            <a:spLocks/>
          </p:cNvSpPr>
          <p:nvPr/>
        </p:nvSpPr>
        <p:spPr>
          <a:xfrm>
            <a:off x="236881" y="319088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CONFIDINTIAL</a:t>
            </a:r>
          </a:p>
        </p:txBody>
      </p:sp>
    </p:spTree>
    <p:extLst>
      <p:ext uri="{BB962C8B-B14F-4D97-AF65-F5344CB8AC3E}">
        <p14:creationId xmlns:p14="http://schemas.microsoft.com/office/powerpoint/2010/main" val="108460285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1CF7ECE-168F-4A1D-891E-5479314AA79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3B88249-034E-4263-B3AA-175A5A181DC1}"/>
              </a:ext>
            </a:extLst>
          </p:cNvPr>
          <p:cNvSpPr/>
          <p:nvPr/>
        </p:nvSpPr>
        <p:spPr>
          <a:xfrm>
            <a:off x="3892658" y="204900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3F560F9-70FC-4980-9E87-639680B54FAC}"/>
              </a:ext>
            </a:extLst>
          </p:cNvPr>
          <p:cNvCxnSpPr>
            <a:cxnSpLocks/>
          </p:cNvCxnSpPr>
          <p:nvPr/>
        </p:nvCxnSpPr>
        <p:spPr>
          <a:xfrm flipV="1">
            <a:off x="6289729" y="337807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1471D17F-0F1F-4BDC-AF2B-0CEA53388D48}"/>
              </a:ext>
            </a:extLst>
          </p:cNvPr>
          <p:cNvSpPr/>
          <p:nvPr/>
        </p:nvSpPr>
        <p:spPr>
          <a:xfrm flipH="1">
            <a:off x="3181600" y="128270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1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AC0DB41-25E3-4D72-8E13-57268B3BD14A}"/>
              </a:ext>
            </a:extLst>
          </p:cNvPr>
          <p:cNvSpPr/>
          <p:nvPr/>
        </p:nvSpPr>
        <p:spPr>
          <a:xfrm>
            <a:off x="8202827" y="204900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02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A2BA25E-0EBA-4780-B760-C6E721831CAE}"/>
              </a:ext>
            </a:extLst>
          </p:cNvPr>
          <p:cNvSpPr/>
          <p:nvPr/>
        </p:nvSpPr>
        <p:spPr>
          <a:xfrm>
            <a:off x="3892658" y="933494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B94C1CB-357C-47F9-B590-5F1BF5DA160C}"/>
              </a:ext>
            </a:extLst>
          </p:cNvPr>
          <p:cNvCxnSpPr>
            <a:cxnSpLocks/>
          </p:cNvCxnSpPr>
          <p:nvPr/>
        </p:nvCxnSpPr>
        <p:spPr>
          <a:xfrm flipV="1">
            <a:off x="6289729" y="1066401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id="{DFD15B59-1555-40DE-B6DE-446AE39D9C3E}"/>
              </a:ext>
            </a:extLst>
          </p:cNvPr>
          <p:cNvSpPr/>
          <p:nvPr/>
        </p:nvSpPr>
        <p:spPr>
          <a:xfrm flipH="1">
            <a:off x="3181600" y="856864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2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906D322-1B2D-4A6C-8044-24426E441F6F}"/>
              </a:ext>
            </a:extLst>
          </p:cNvPr>
          <p:cNvSpPr/>
          <p:nvPr/>
        </p:nvSpPr>
        <p:spPr>
          <a:xfrm>
            <a:off x="8202827" y="933494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09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75393E7-386B-4C0B-B826-FDA74970868C}"/>
              </a:ext>
            </a:extLst>
          </p:cNvPr>
          <p:cNvSpPr/>
          <p:nvPr/>
        </p:nvSpPr>
        <p:spPr>
          <a:xfrm>
            <a:off x="3892658" y="1738718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CC803F9-B113-41D6-97B2-23D14AAD09CE}"/>
              </a:ext>
            </a:extLst>
          </p:cNvPr>
          <p:cNvCxnSpPr>
            <a:cxnSpLocks/>
          </p:cNvCxnSpPr>
          <p:nvPr/>
        </p:nvCxnSpPr>
        <p:spPr>
          <a:xfrm flipV="1">
            <a:off x="6289729" y="1871625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AACB8F17-1054-4472-BA39-BDF142CA2935}"/>
              </a:ext>
            </a:extLst>
          </p:cNvPr>
          <p:cNvSpPr/>
          <p:nvPr/>
        </p:nvSpPr>
        <p:spPr>
          <a:xfrm flipH="1">
            <a:off x="3181600" y="1662088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3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B3635AC-764D-4DDA-8700-61E5703AD807}"/>
              </a:ext>
            </a:extLst>
          </p:cNvPr>
          <p:cNvSpPr/>
          <p:nvPr/>
        </p:nvSpPr>
        <p:spPr>
          <a:xfrm>
            <a:off x="8202827" y="1738718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10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AC8D26E-7435-4384-88FB-EA0C3DD3B3E6}"/>
              </a:ext>
            </a:extLst>
          </p:cNvPr>
          <p:cNvSpPr/>
          <p:nvPr/>
        </p:nvSpPr>
        <p:spPr>
          <a:xfrm>
            <a:off x="3892658" y="2541557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C9E4BEE1-B026-44DC-9994-CE8C1BD82331}"/>
              </a:ext>
            </a:extLst>
          </p:cNvPr>
          <p:cNvCxnSpPr>
            <a:cxnSpLocks/>
          </p:cNvCxnSpPr>
          <p:nvPr/>
        </p:nvCxnSpPr>
        <p:spPr>
          <a:xfrm flipV="1">
            <a:off x="6289729" y="2674464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65E04E8C-699C-4A3F-9609-CADEBAD36BE5}"/>
              </a:ext>
            </a:extLst>
          </p:cNvPr>
          <p:cNvSpPr/>
          <p:nvPr/>
        </p:nvSpPr>
        <p:spPr>
          <a:xfrm flipH="1">
            <a:off x="3181600" y="2464927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4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432525C1-0231-4C6D-9158-19373526434A}"/>
              </a:ext>
            </a:extLst>
          </p:cNvPr>
          <p:cNvSpPr/>
          <p:nvPr/>
        </p:nvSpPr>
        <p:spPr>
          <a:xfrm>
            <a:off x="8202827" y="2542505"/>
            <a:ext cx="320996" cy="26391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15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DD384EA-96D8-4D2C-ADCD-1C760E727635}"/>
              </a:ext>
            </a:extLst>
          </p:cNvPr>
          <p:cNvSpPr/>
          <p:nvPr/>
        </p:nvSpPr>
        <p:spPr>
          <a:xfrm>
            <a:off x="3892658" y="3344396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3E73B1CF-DFD0-49F9-B3CC-71D272219113}"/>
              </a:ext>
            </a:extLst>
          </p:cNvPr>
          <p:cNvCxnSpPr>
            <a:cxnSpLocks/>
          </p:cNvCxnSpPr>
          <p:nvPr/>
        </p:nvCxnSpPr>
        <p:spPr>
          <a:xfrm flipV="1">
            <a:off x="6289729" y="3477303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Oval 76">
            <a:extLst>
              <a:ext uri="{FF2B5EF4-FFF2-40B4-BE49-F238E27FC236}">
                <a16:creationId xmlns:a16="http://schemas.microsoft.com/office/drawing/2014/main" id="{2C0AE610-9574-4080-9A8F-B0CFC95D72F6}"/>
              </a:ext>
            </a:extLst>
          </p:cNvPr>
          <p:cNvSpPr/>
          <p:nvPr/>
        </p:nvSpPr>
        <p:spPr>
          <a:xfrm flipH="1">
            <a:off x="3181600" y="3267766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5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A867231-D8B2-4237-AF87-3DFBBB52A0CC}"/>
              </a:ext>
            </a:extLst>
          </p:cNvPr>
          <p:cNvSpPr/>
          <p:nvPr/>
        </p:nvSpPr>
        <p:spPr>
          <a:xfrm>
            <a:off x="8202827" y="3344396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20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90E03B71-463D-4439-A221-DFE09A29633D}"/>
              </a:ext>
            </a:extLst>
          </p:cNvPr>
          <p:cNvCxnSpPr/>
          <p:nvPr/>
        </p:nvCxnSpPr>
        <p:spPr>
          <a:xfrm>
            <a:off x="606753" y="4158152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itle 1">
            <a:extLst>
              <a:ext uri="{FF2B5EF4-FFF2-40B4-BE49-F238E27FC236}">
                <a16:creationId xmlns:a16="http://schemas.microsoft.com/office/drawing/2014/main" id="{72554050-8939-4582-96BF-449BEF10488C}"/>
              </a:ext>
            </a:extLst>
          </p:cNvPr>
          <p:cNvSpPr txBox="1">
            <a:spLocks/>
          </p:cNvSpPr>
          <p:nvPr/>
        </p:nvSpPr>
        <p:spPr>
          <a:xfrm>
            <a:off x="551738" y="3442527"/>
            <a:ext cx="1783689" cy="4555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200"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18A248D3-96FE-41CA-831F-67FB2678AAA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220" y="6109144"/>
            <a:ext cx="1073080" cy="455405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907BF56A-F40E-488F-818B-E13AA8A87343}"/>
              </a:ext>
            </a:extLst>
          </p:cNvPr>
          <p:cNvSpPr txBox="1">
            <a:spLocks/>
          </p:cNvSpPr>
          <p:nvPr/>
        </p:nvSpPr>
        <p:spPr>
          <a:xfrm>
            <a:off x="11295586" y="319088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CONFIDINTIAL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3B88249-034E-4263-B3AA-175A5A181DC1}"/>
              </a:ext>
            </a:extLst>
          </p:cNvPr>
          <p:cNvSpPr/>
          <p:nvPr/>
        </p:nvSpPr>
        <p:spPr>
          <a:xfrm>
            <a:off x="3892658" y="4094984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3F560F9-70FC-4980-9E87-639680B54FAC}"/>
              </a:ext>
            </a:extLst>
          </p:cNvPr>
          <p:cNvCxnSpPr>
            <a:cxnSpLocks/>
          </p:cNvCxnSpPr>
          <p:nvPr/>
        </p:nvCxnSpPr>
        <p:spPr>
          <a:xfrm flipV="1">
            <a:off x="6289729" y="4227891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1471D17F-0F1F-4BDC-AF2B-0CEA53388D48}"/>
              </a:ext>
            </a:extLst>
          </p:cNvPr>
          <p:cNvSpPr/>
          <p:nvPr/>
        </p:nvSpPr>
        <p:spPr>
          <a:xfrm flipH="1">
            <a:off x="3181600" y="4018354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1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AC0DB41-25E3-4D72-8E13-57268B3BD14A}"/>
              </a:ext>
            </a:extLst>
          </p:cNvPr>
          <p:cNvSpPr/>
          <p:nvPr/>
        </p:nvSpPr>
        <p:spPr>
          <a:xfrm>
            <a:off x="8202827" y="4094984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02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A2BA25E-0EBA-4780-B760-C6E721831CAE}"/>
              </a:ext>
            </a:extLst>
          </p:cNvPr>
          <p:cNvSpPr/>
          <p:nvPr/>
        </p:nvSpPr>
        <p:spPr>
          <a:xfrm>
            <a:off x="3892658" y="4823578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B94C1CB-357C-47F9-B590-5F1BF5DA160C}"/>
              </a:ext>
            </a:extLst>
          </p:cNvPr>
          <p:cNvCxnSpPr>
            <a:cxnSpLocks/>
          </p:cNvCxnSpPr>
          <p:nvPr/>
        </p:nvCxnSpPr>
        <p:spPr>
          <a:xfrm flipV="1">
            <a:off x="6289729" y="4956485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>
            <a:extLst>
              <a:ext uri="{FF2B5EF4-FFF2-40B4-BE49-F238E27FC236}">
                <a16:creationId xmlns:a16="http://schemas.microsoft.com/office/drawing/2014/main" id="{DFD15B59-1555-40DE-B6DE-446AE39D9C3E}"/>
              </a:ext>
            </a:extLst>
          </p:cNvPr>
          <p:cNvSpPr/>
          <p:nvPr/>
        </p:nvSpPr>
        <p:spPr>
          <a:xfrm flipH="1">
            <a:off x="3181600" y="4746948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2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906D322-1B2D-4A6C-8044-24426E441F6F}"/>
              </a:ext>
            </a:extLst>
          </p:cNvPr>
          <p:cNvSpPr/>
          <p:nvPr/>
        </p:nvSpPr>
        <p:spPr>
          <a:xfrm>
            <a:off x="8202827" y="4823578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09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75393E7-386B-4C0B-B826-FDA74970868C}"/>
              </a:ext>
            </a:extLst>
          </p:cNvPr>
          <p:cNvSpPr/>
          <p:nvPr/>
        </p:nvSpPr>
        <p:spPr>
          <a:xfrm>
            <a:off x="3892658" y="5628802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6CC803F9-B113-41D6-97B2-23D14AAD09CE}"/>
              </a:ext>
            </a:extLst>
          </p:cNvPr>
          <p:cNvCxnSpPr>
            <a:cxnSpLocks/>
          </p:cNvCxnSpPr>
          <p:nvPr/>
        </p:nvCxnSpPr>
        <p:spPr>
          <a:xfrm flipV="1">
            <a:off x="6289729" y="5761709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val 38">
            <a:extLst>
              <a:ext uri="{FF2B5EF4-FFF2-40B4-BE49-F238E27FC236}">
                <a16:creationId xmlns:a16="http://schemas.microsoft.com/office/drawing/2014/main" id="{AACB8F17-1054-4472-BA39-BDF142CA2935}"/>
              </a:ext>
            </a:extLst>
          </p:cNvPr>
          <p:cNvSpPr/>
          <p:nvPr/>
        </p:nvSpPr>
        <p:spPr>
          <a:xfrm flipH="1">
            <a:off x="3181600" y="5552172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3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B3635AC-764D-4DDA-8700-61E5703AD807}"/>
              </a:ext>
            </a:extLst>
          </p:cNvPr>
          <p:cNvSpPr/>
          <p:nvPr/>
        </p:nvSpPr>
        <p:spPr>
          <a:xfrm>
            <a:off x="8202827" y="5628802"/>
            <a:ext cx="320996" cy="2658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10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AC8D26E-7435-4384-88FB-EA0C3DD3B3E6}"/>
              </a:ext>
            </a:extLst>
          </p:cNvPr>
          <p:cNvSpPr/>
          <p:nvPr/>
        </p:nvSpPr>
        <p:spPr>
          <a:xfrm>
            <a:off x="3892658" y="6431641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9E4BEE1-B026-44DC-9994-CE8C1BD82331}"/>
              </a:ext>
            </a:extLst>
          </p:cNvPr>
          <p:cNvCxnSpPr>
            <a:cxnSpLocks/>
          </p:cNvCxnSpPr>
          <p:nvPr/>
        </p:nvCxnSpPr>
        <p:spPr>
          <a:xfrm flipV="1">
            <a:off x="6289729" y="6564548"/>
            <a:ext cx="176481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:a16="http://schemas.microsoft.com/office/drawing/2014/main" id="{65E04E8C-699C-4A3F-9609-CADEBAD36BE5}"/>
              </a:ext>
            </a:extLst>
          </p:cNvPr>
          <p:cNvSpPr/>
          <p:nvPr/>
        </p:nvSpPr>
        <p:spPr>
          <a:xfrm flipH="1">
            <a:off x="3181600" y="6355011"/>
            <a:ext cx="419075" cy="419075"/>
          </a:xfrm>
          <a:prstGeom prst="ellipse">
            <a:avLst/>
          </a:prstGeom>
          <a:solidFill>
            <a:srgbClr val="D8243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lvl="0" algn="ctr"/>
            <a:r>
              <a:rPr lang="en-US" sz="1200" dirty="0">
                <a:solidFill>
                  <a:schemeClr val="bg1"/>
                </a:solidFill>
                <a:latin typeface="Nexa Light" panose="02000000000000000000" pitchFamily="50" charset="0"/>
              </a:rPr>
              <a:t>04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32525C1-0231-4C6D-9158-19373526434A}"/>
              </a:ext>
            </a:extLst>
          </p:cNvPr>
          <p:cNvSpPr/>
          <p:nvPr/>
        </p:nvSpPr>
        <p:spPr>
          <a:xfrm>
            <a:off x="8202827" y="6432589"/>
            <a:ext cx="320996" cy="26391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401059686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097873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1CF7ECE-168F-4A1D-891E-5479314AA799}"/>
              </a:ext>
            </a:extLst>
          </p:cNvPr>
          <p:cNvSpPr/>
          <p:nvPr/>
        </p:nvSpPr>
        <p:spPr>
          <a:xfrm>
            <a:off x="0" y="5528010"/>
            <a:ext cx="12192000" cy="132999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3B88249-034E-4263-B3AA-175A5A181DC1}"/>
              </a:ext>
            </a:extLst>
          </p:cNvPr>
          <p:cNvSpPr/>
          <p:nvPr/>
        </p:nvSpPr>
        <p:spPr>
          <a:xfrm>
            <a:off x="3686795" y="1363612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90E03B71-463D-4439-A221-DFE09A29633D}"/>
              </a:ext>
            </a:extLst>
          </p:cNvPr>
          <p:cNvCxnSpPr>
            <a:cxnSpLocks/>
          </p:cNvCxnSpPr>
          <p:nvPr/>
        </p:nvCxnSpPr>
        <p:spPr>
          <a:xfrm>
            <a:off x="3328956" y="1589234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75C80992-3C2F-4A61-B5F1-2A1A93513FA9}"/>
              </a:ext>
            </a:extLst>
          </p:cNvPr>
          <p:cNvSpPr/>
          <p:nvPr/>
        </p:nvSpPr>
        <p:spPr>
          <a:xfrm>
            <a:off x="3273433" y="1285421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02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A2BA25E-0EBA-4780-B760-C6E721831CAE}"/>
              </a:ext>
            </a:extLst>
          </p:cNvPr>
          <p:cNvSpPr/>
          <p:nvPr/>
        </p:nvSpPr>
        <p:spPr>
          <a:xfrm>
            <a:off x="3686795" y="2041476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5FF7385-6E8F-43A7-BBE0-E29C3C64F301}"/>
              </a:ext>
            </a:extLst>
          </p:cNvPr>
          <p:cNvCxnSpPr>
            <a:cxnSpLocks/>
          </p:cNvCxnSpPr>
          <p:nvPr/>
        </p:nvCxnSpPr>
        <p:spPr>
          <a:xfrm>
            <a:off x="3328956" y="2271709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0917853E-A7DD-434E-8C6D-D8D7F68D078E}"/>
              </a:ext>
            </a:extLst>
          </p:cNvPr>
          <p:cNvSpPr/>
          <p:nvPr/>
        </p:nvSpPr>
        <p:spPr>
          <a:xfrm>
            <a:off x="3273433" y="1967896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09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75393E7-386B-4C0B-B826-FDA74970868C}"/>
              </a:ext>
            </a:extLst>
          </p:cNvPr>
          <p:cNvSpPr/>
          <p:nvPr/>
        </p:nvSpPr>
        <p:spPr>
          <a:xfrm>
            <a:off x="3686795" y="2723951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7C78A87C-FA1C-4313-9F39-70EF328CA848}"/>
              </a:ext>
            </a:extLst>
          </p:cNvPr>
          <p:cNvCxnSpPr>
            <a:cxnSpLocks/>
          </p:cNvCxnSpPr>
          <p:nvPr/>
        </p:nvCxnSpPr>
        <p:spPr>
          <a:xfrm>
            <a:off x="3328956" y="2949573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59B14903-6FD1-4CBF-AB9C-888C495E70D0}"/>
              </a:ext>
            </a:extLst>
          </p:cNvPr>
          <p:cNvSpPr/>
          <p:nvPr/>
        </p:nvSpPr>
        <p:spPr>
          <a:xfrm>
            <a:off x="3273433" y="2645760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10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AC8D26E-7435-4384-88FB-EA0C3DD3B3E6}"/>
              </a:ext>
            </a:extLst>
          </p:cNvPr>
          <p:cNvSpPr/>
          <p:nvPr/>
        </p:nvSpPr>
        <p:spPr>
          <a:xfrm>
            <a:off x="3686795" y="3408653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9C77D53-37A9-4590-8A53-03C16877768F}"/>
              </a:ext>
            </a:extLst>
          </p:cNvPr>
          <p:cNvCxnSpPr>
            <a:cxnSpLocks/>
          </p:cNvCxnSpPr>
          <p:nvPr/>
        </p:nvCxnSpPr>
        <p:spPr>
          <a:xfrm>
            <a:off x="3328956" y="3632048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FD85EB36-432B-4804-A836-F1F4E46423D3}"/>
              </a:ext>
            </a:extLst>
          </p:cNvPr>
          <p:cNvSpPr/>
          <p:nvPr/>
        </p:nvSpPr>
        <p:spPr>
          <a:xfrm>
            <a:off x="3273433" y="3328235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15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DD384EA-96D8-4D2C-ADCD-1C760E727635}"/>
              </a:ext>
            </a:extLst>
          </p:cNvPr>
          <p:cNvSpPr/>
          <p:nvPr/>
        </p:nvSpPr>
        <p:spPr>
          <a:xfrm>
            <a:off x="3686795" y="4091127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8F5989B-571E-486A-9CE6-A20BF85E952E}"/>
              </a:ext>
            </a:extLst>
          </p:cNvPr>
          <p:cNvCxnSpPr>
            <a:cxnSpLocks/>
          </p:cNvCxnSpPr>
          <p:nvPr/>
        </p:nvCxnSpPr>
        <p:spPr>
          <a:xfrm>
            <a:off x="3328956" y="4316749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CC897288-85DF-4FD1-AC2B-1D686054D498}"/>
              </a:ext>
            </a:extLst>
          </p:cNvPr>
          <p:cNvSpPr/>
          <p:nvPr/>
        </p:nvSpPr>
        <p:spPr>
          <a:xfrm>
            <a:off x="3273433" y="4012936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20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46315D05-0A44-4D40-8015-FFB243B6F888}"/>
              </a:ext>
            </a:extLst>
          </p:cNvPr>
          <p:cNvSpPr/>
          <p:nvPr/>
        </p:nvSpPr>
        <p:spPr>
          <a:xfrm>
            <a:off x="7716184" y="1363612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F7C86F9B-E855-4585-9651-9E2D000AD98D}"/>
              </a:ext>
            </a:extLst>
          </p:cNvPr>
          <p:cNvCxnSpPr>
            <a:cxnSpLocks/>
          </p:cNvCxnSpPr>
          <p:nvPr/>
        </p:nvCxnSpPr>
        <p:spPr>
          <a:xfrm>
            <a:off x="7358345" y="1589234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A00D27EC-8A67-4A1B-AA51-A40BFE81A5A5}"/>
              </a:ext>
            </a:extLst>
          </p:cNvPr>
          <p:cNvSpPr/>
          <p:nvPr/>
        </p:nvSpPr>
        <p:spPr>
          <a:xfrm>
            <a:off x="7302822" y="1285421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02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E7EAEEA-E0E7-4B3D-B304-332CA0F80B87}"/>
              </a:ext>
            </a:extLst>
          </p:cNvPr>
          <p:cNvSpPr/>
          <p:nvPr/>
        </p:nvSpPr>
        <p:spPr>
          <a:xfrm>
            <a:off x="7716184" y="2041476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AF75AB56-E43E-447B-B4B3-9B19EF1F6CB5}"/>
              </a:ext>
            </a:extLst>
          </p:cNvPr>
          <p:cNvCxnSpPr>
            <a:cxnSpLocks/>
          </p:cNvCxnSpPr>
          <p:nvPr/>
        </p:nvCxnSpPr>
        <p:spPr>
          <a:xfrm>
            <a:off x="7358345" y="2271709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DDEAD6D4-CD0E-47BC-AB9D-161BB80BB305}"/>
              </a:ext>
            </a:extLst>
          </p:cNvPr>
          <p:cNvSpPr/>
          <p:nvPr/>
        </p:nvSpPr>
        <p:spPr>
          <a:xfrm>
            <a:off x="7302822" y="1967896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09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A21CEED-F88E-40D7-B1E8-F6898711C6D3}"/>
              </a:ext>
            </a:extLst>
          </p:cNvPr>
          <p:cNvSpPr/>
          <p:nvPr/>
        </p:nvSpPr>
        <p:spPr>
          <a:xfrm>
            <a:off x="7716184" y="2723951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593CA93-F28E-40F7-A876-7511C5570A06}"/>
              </a:ext>
            </a:extLst>
          </p:cNvPr>
          <p:cNvCxnSpPr>
            <a:cxnSpLocks/>
          </p:cNvCxnSpPr>
          <p:nvPr/>
        </p:nvCxnSpPr>
        <p:spPr>
          <a:xfrm>
            <a:off x="7358345" y="2949573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EE7D47D6-F4E8-4F27-AA83-A907D1E5C464}"/>
              </a:ext>
            </a:extLst>
          </p:cNvPr>
          <p:cNvSpPr/>
          <p:nvPr/>
        </p:nvSpPr>
        <p:spPr>
          <a:xfrm>
            <a:off x="7302822" y="2645760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10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FFB85D95-23AE-446D-9940-622EC9E9C2F2}"/>
              </a:ext>
            </a:extLst>
          </p:cNvPr>
          <p:cNvSpPr/>
          <p:nvPr/>
        </p:nvSpPr>
        <p:spPr>
          <a:xfrm>
            <a:off x="7716184" y="3408653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C3B4C061-FFB8-4FF4-AAEF-6999BA2584BE}"/>
              </a:ext>
            </a:extLst>
          </p:cNvPr>
          <p:cNvCxnSpPr>
            <a:cxnSpLocks/>
          </p:cNvCxnSpPr>
          <p:nvPr/>
        </p:nvCxnSpPr>
        <p:spPr>
          <a:xfrm>
            <a:off x="7358345" y="3632048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F4D9C181-9FE9-4EAD-B3F7-F9F11D9E0546}"/>
              </a:ext>
            </a:extLst>
          </p:cNvPr>
          <p:cNvSpPr/>
          <p:nvPr/>
        </p:nvSpPr>
        <p:spPr>
          <a:xfrm>
            <a:off x="7302822" y="3328235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15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EB7FF55A-7557-494D-A2E2-8BD2ECCC03BD}"/>
              </a:ext>
            </a:extLst>
          </p:cNvPr>
          <p:cNvSpPr/>
          <p:nvPr/>
        </p:nvSpPr>
        <p:spPr>
          <a:xfrm>
            <a:off x="7716184" y="4091127"/>
            <a:ext cx="2877849" cy="26581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ID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8C4B7284-1BD2-461F-8553-16230AAB5013}"/>
              </a:ext>
            </a:extLst>
          </p:cNvPr>
          <p:cNvCxnSpPr>
            <a:cxnSpLocks/>
          </p:cNvCxnSpPr>
          <p:nvPr/>
        </p:nvCxnSpPr>
        <p:spPr>
          <a:xfrm>
            <a:off x="7358345" y="4316749"/>
            <a:ext cx="209950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DB8A3576-EF2A-43EB-A86F-92450F9469DD}"/>
              </a:ext>
            </a:extLst>
          </p:cNvPr>
          <p:cNvSpPr/>
          <p:nvPr/>
        </p:nvSpPr>
        <p:spPr>
          <a:xfrm>
            <a:off x="7302822" y="4012936"/>
            <a:ext cx="320996" cy="3016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ID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exa Bold" panose="02000000000000000000" pitchFamily="50" charset="0"/>
              </a:rPr>
              <a:t>20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EE7AA7D-5EB6-4AA2-915B-D16BDC1F4B02}"/>
              </a:ext>
            </a:extLst>
          </p:cNvPr>
          <p:cNvCxnSpPr/>
          <p:nvPr/>
        </p:nvCxnSpPr>
        <p:spPr>
          <a:xfrm>
            <a:off x="606753" y="3909834"/>
            <a:ext cx="794544" cy="0"/>
          </a:xfrm>
          <a:prstGeom prst="line">
            <a:avLst/>
          </a:prstGeom>
          <a:ln w="50800">
            <a:solidFill>
              <a:srgbClr val="D824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itle 1">
            <a:extLst>
              <a:ext uri="{FF2B5EF4-FFF2-40B4-BE49-F238E27FC236}">
                <a16:creationId xmlns:a16="http://schemas.microsoft.com/office/drawing/2014/main" id="{31F89735-73E5-442B-884A-95E8DA0D74E4}"/>
              </a:ext>
            </a:extLst>
          </p:cNvPr>
          <p:cNvSpPr txBox="1">
            <a:spLocks/>
          </p:cNvSpPr>
          <p:nvPr/>
        </p:nvSpPr>
        <p:spPr>
          <a:xfrm>
            <a:off x="551738" y="3194209"/>
            <a:ext cx="1783689" cy="4555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200"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ontent</a:t>
            </a: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9E290001-EF7A-4828-B89D-A96171AEE2A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220" y="363125"/>
            <a:ext cx="1073080" cy="455405"/>
          </a:xfrm>
          <a:prstGeom prst="rect">
            <a:avLst/>
          </a:prstGeom>
          <a:noFill/>
          <a:ln>
            <a:noFill/>
          </a:ln>
        </p:spPr>
      </p:pic>
      <p:sp>
        <p:nvSpPr>
          <p:cNvPr id="76" name="Rectangle 75">
            <a:extLst>
              <a:ext uri="{FF2B5EF4-FFF2-40B4-BE49-F238E27FC236}">
                <a16:creationId xmlns:a16="http://schemas.microsoft.com/office/drawing/2014/main" id="{0CDDDA25-F1DA-46F7-B07A-26DAE09F7311}"/>
              </a:ext>
            </a:extLst>
          </p:cNvPr>
          <p:cNvSpPr/>
          <p:nvPr/>
        </p:nvSpPr>
        <p:spPr>
          <a:xfrm>
            <a:off x="3332799" y="5995815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 dirty="0">
                <a:solidFill>
                  <a:srgbClr val="D82435"/>
                </a:solidFill>
                <a:latin typeface="Nexa Bold" panose="02000000000000000000" pitchFamily="50" charset="0"/>
              </a:rPr>
              <a:t>APPENDIX A  </a:t>
            </a:r>
            <a:r>
              <a:rPr lang="en-ID" sz="1100" dirty="0">
                <a:solidFill>
                  <a:srgbClr val="D82435"/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0BBD00E-630D-4505-84EF-235136F3C60C}"/>
              </a:ext>
            </a:extLst>
          </p:cNvPr>
          <p:cNvSpPr/>
          <p:nvPr/>
        </p:nvSpPr>
        <p:spPr>
          <a:xfrm>
            <a:off x="3332799" y="6291366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 dirty="0">
                <a:solidFill>
                  <a:srgbClr val="D82435"/>
                </a:solidFill>
                <a:latin typeface="Nexa Bold" panose="02000000000000000000" pitchFamily="50" charset="0"/>
              </a:rPr>
              <a:t>APPENDIX B  </a:t>
            </a:r>
            <a:r>
              <a:rPr lang="en-ID" sz="1100" dirty="0">
                <a:solidFill>
                  <a:srgbClr val="D82435"/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464CC38A-8E58-42FB-A004-DCDDAC1F5BE0}"/>
              </a:ext>
            </a:extLst>
          </p:cNvPr>
          <p:cNvSpPr/>
          <p:nvPr/>
        </p:nvSpPr>
        <p:spPr>
          <a:xfrm>
            <a:off x="7312742" y="5993699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 dirty="0">
                <a:solidFill>
                  <a:srgbClr val="D82435"/>
                </a:solidFill>
                <a:latin typeface="Nexa Bold" panose="02000000000000000000" pitchFamily="50" charset="0"/>
              </a:rPr>
              <a:t>APPENDIX C  </a:t>
            </a:r>
            <a:r>
              <a:rPr lang="en-ID" sz="1100" dirty="0">
                <a:solidFill>
                  <a:srgbClr val="D82435"/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C85CECD-FD07-4B8A-BA45-05F0E8718B0D}"/>
              </a:ext>
            </a:extLst>
          </p:cNvPr>
          <p:cNvSpPr/>
          <p:nvPr/>
        </p:nvSpPr>
        <p:spPr>
          <a:xfrm>
            <a:off x="7312742" y="6289249"/>
            <a:ext cx="105073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ID" sz="1100" dirty="0">
                <a:solidFill>
                  <a:srgbClr val="D82435"/>
                </a:solidFill>
                <a:latin typeface="Nexa Bold" panose="02000000000000000000" pitchFamily="50" charset="0"/>
              </a:rPr>
              <a:t>APPENDIX D  </a:t>
            </a:r>
            <a:r>
              <a:rPr lang="en-ID" sz="1100" b="0" dirty="0">
                <a:solidFill>
                  <a:srgbClr val="D82435"/>
                </a:solidFill>
                <a:latin typeface="Nexa Light" panose="02000000000000000000" pitchFamily="50" charset="0"/>
              </a:rPr>
              <a:t>|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5AB63BEF-B171-418D-AEC9-537BFB0D7E15}"/>
              </a:ext>
            </a:extLst>
          </p:cNvPr>
          <p:cNvSpPr/>
          <p:nvPr/>
        </p:nvSpPr>
        <p:spPr>
          <a:xfrm>
            <a:off x="4355142" y="5995815"/>
            <a:ext cx="1846304" cy="2073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F1FF25D-E6AB-49C5-8D12-5E5CDF76A078}"/>
              </a:ext>
            </a:extLst>
          </p:cNvPr>
          <p:cNvSpPr/>
          <p:nvPr/>
        </p:nvSpPr>
        <p:spPr>
          <a:xfrm>
            <a:off x="4355141" y="6291365"/>
            <a:ext cx="1846303" cy="2073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06B480D9-4CB4-4A86-BE49-CDE3D1C0469A}"/>
              </a:ext>
            </a:extLst>
          </p:cNvPr>
          <p:cNvSpPr/>
          <p:nvPr/>
        </p:nvSpPr>
        <p:spPr>
          <a:xfrm>
            <a:off x="8335084" y="5993698"/>
            <a:ext cx="1846303" cy="2073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7E96864E-A4D1-4B54-AA86-267F4EC0C780}"/>
              </a:ext>
            </a:extLst>
          </p:cNvPr>
          <p:cNvSpPr/>
          <p:nvPr/>
        </p:nvSpPr>
        <p:spPr>
          <a:xfrm>
            <a:off x="8335084" y="6289248"/>
            <a:ext cx="1846303" cy="2073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>
              <a:lnSpc>
                <a:spcPct val="130000"/>
              </a:lnSpc>
            </a:pPr>
            <a:r>
              <a:rPr lang="da-DK" sz="1100">
                <a:solidFill>
                  <a:schemeClr val="tx1">
                    <a:lumMod val="85000"/>
                    <a:lumOff val="15000"/>
                  </a:schemeClr>
                </a:solidFill>
                <a:latin typeface="Nexa Light" panose="02000000000000000000" pitchFamily="50" charset="0"/>
              </a:rPr>
              <a:t>Lorem ipsum dolor sit amet</a:t>
            </a:r>
          </a:p>
        </p:txBody>
      </p:sp>
      <p:sp>
        <p:nvSpPr>
          <p:cNvPr id="48" name="Footer Placeholder 4">
            <a:extLst>
              <a:ext uri="{FF2B5EF4-FFF2-40B4-BE49-F238E27FC236}">
                <a16:creationId xmlns:a16="http://schemas.microsoft.com/office/drawing/2014/main" id="{BBEFAD99-8805-49F8-BCDE-765A5F378CAC}"/>
              </a:ext>
            </a:extLst>
          </p:cNvPr>
          <p:cNvSpPr txBox="1">
            <a:spLocks/>
          </p:cNvSpPr>
          <p:nvPr/>
        </p:nvSpPr>
        <p:spPr>
          <a:xfrm>
            <a:off x="11295586" y="6341710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CONFIDINTIAL</a:t>
            </a:r>
          </a:p>
        </p:txBody>
      </p:sp>
    </p:spTree>
    <p:extLst>
      <p:ext uri="{BB962C8B-B14F-4D97-AF65-F5344CB8AC3E}">
        <p14:creationId xmlns:p14="http://schemas.microsoft.com/office/powerpoint/2010/main" val="35225420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tags" Target="../tags/tag20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5.xml"/><Relationship Id="rId16" Type="http://schemas.openxmlformats.org/officeDocument/2006/relationships/image" Target="../media/image11.emf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tags" Target="../tags/tag2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tags" Target="../tags/tag22.xml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6.xml"/><Relationship Id="rId16" Type="http://schemas.openxmlformats.org/officeDocument/2006/relationships/image" Target="../media/image11.emf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tags" Target="../tags/tag2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27.xml"/><Relationship Id="rId16" Type="http://schemas.openxmlformats.org/officeDocument/2006/relationships/oleObject" Target="../embeddings/oleObject9.bin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tags" Target="../tags/tag2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tags" Target="../tags/tag26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9.xml"/><Relationship Id="rId16" Type="http://schemas.openxmlformats.org/officeDocument/2006/relationships/image" Target="../media/image11.emf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tags" Target="../tags/tag27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13" Type="http://schemas.openxmlformats.org/officeDocument/2006/relationships/oleObject" Target="../embeddings/oleObject10.bin"/><Relationship Id="rId3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55.xml"/><Relationship Id="rId12" Type="http://schemas.openxmlformats.org/officeDocument/2006/relationships/tags" Target="../tags/tag29.xml"/><Relationship Id="rId2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tags" Target="../tags/tag28.xml"/><Relationship Id="rId5" Type="http://schemas.openxmlformats.org/officeDocument/2006/relationships/slideLayout" Target="../slideLayouts/slideLayout153.xml"/><Relationship Id="rId10" Type="http://schemas.openxmlformats.org/officeDocument/2006/relationships/theme" Target="../theme/theme14.xml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Relationship Id="rId14" Type="http://schemas.openxmlformats.org/officeDocument/2006/relationships/image" Target="../media/image1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64.xml"/><Relationship Id="rId12" Type="http://schemas.openxmlformats.org/officeDocument/2006/relationships/slideLayout" Target="../slideLayouts/slideLayout16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9.xml"/><Relationship Id="rId16" Type="http://schemas.openxmlformats.org/officeDocument/2006/relationships/oleObject" Target="../embeddings/oleObject11.bin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68.xml"/><Relationship Id="rId5" Type="http://schemas.openxmlformats.org/officeDocument/2006/relationships/slideLayout" Target="../slideLayouts/slideLayout162.xml"/><Relationship Id="rId15" Type="http://schemas.openxmlformats.org/officeDocument/2006/relationships/tags" Target="../tags/tag31.xml"/><Relationship Id="rId10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Relationship Id="rId14" Type="http://schemas.openxmlformats.org/officeDocument/2006/relationships/tags" Target="../tags/tag30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7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76.xml"/><Relationship Id="rId12" Type="http://schemas.openxmlformats.org/officeDocument/2006/relationships/slideLayout" Target="../slideLayouts/slideLayout18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71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74.xml"/><Relationship Id="rId15" Type="http://schemas.openxmlformats.org/officeDocument/2006/relationships/tags" Target="../tags/tag33.xml"/><Relationship Id="rId10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Relationship Id="rId14" Type="http://schemas.openxmlformats.org/officeDocument/2006/relationships/tags" Target="../tags/tag32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9.xml"/><Relationship Id="rId13" Type="http://schemas.openxmlformats.org/officeDocument/2006/relationships/slideLayout" Target="../slideLayouts/slideLayout194.xml"/><Relationship Id="rId18" Type="http://schemas.openxmlformats.org/officeDocument/2006/relationships/slideLayout" Target="../slideLayouts/slideLayout199.xml"/><Relationship Id="rId3" Type="http://schemas.openxmlformats.org/officeDocument/2006/relationships/slideLayout" Target="../slideLayouts/slideLayout184.xml"/><Relationship Id="rId21" Type="http://schemas.openxmlformats.org/officeDocument/2006/relationships/tags" Target="../tags/tag34.xml"/><Relationship Id="rId7" Type="http://schemas.openxmlformats.org/officeDocument/2006/relationships/slideLayout" Target="../slideLayouts/slideLayout188.xml"/><Relationship Id="rId12" Type="http://schemas.openxmlformats.org/officeDocument/2006/relationships/slideLayout" Target="../slideLayouts/slideLayout193.xml"/><Relationship Id="rId17" Type="http://schemas.openxmlformats.org/officeDocument/2006/relationships/slideLayout" Target="../slideLayouts/slideLayout198.xml"/><Relationship Id="rId2" Type="http://schemas.openxmlformats.org/officeDocument/2006/relationships/slideLayout" Target="../slideLayouts/slideLayout183.xml"/><Relationship Id="rId16" Type="http://schemas.openxmlformats.org/officeDocument/2006/relationships/slideLayout" Target="../slideLayouts/slideLayout197.xml"/><Relationship Id="rId20" Type="http://schemas.openxmlformats.org/officeDocument/2006/relationships/theme" Target="../theme/theme17.xml"/><Relationship Id="rId1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187.xml"/><Relationship Id="rId11" Type="http://schemas.openxmlformats.org/officeDocument/2006/relationships/slideLayout" Target="../slideLayouts/slideLayout19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86.xml"/><Relationship Id="rId15" Type="http://schemas.openxmlformats.org/officeDocument/2006/relationships/slideLayout" Target="../slideLayouts/slideLayout196.xml"/><Relationship Id="rId23" Type="http://schemas.openxmlformats.org/officeDocument/2006/relationships/oleObject" Target="../embeddings/oleObject13.bin"/><Relationship Id="rId10" Type="http://schemas.openxmlformats.org/officeDocument/2006/relationships/slideLayout" Target="../slideLayouts/slideLayout191.xml"/><Relationship Id="rId19" Type="http://schemas.openxmlformats.org/officeDocument/2006/relationships/slideLayout" Target="../slideLayouts/slideLayout200.xml"/><Relationship Id="rId4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190.xml"/><Relationship Id="rId14" Type="http://schemas.openxmlformats.org/officeDocument/2006/relationships/slideLayout" Target="../slideLayouts/slideLayout195.xml"/><Relationship Id="rId22" Type="http://schemas.openxmlformats.org/officeDocument/2006/relationships/tags" Target="../tags/tag35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13" Type="http://schemas.openxmlformats.org/officeDocument/2006/relationships/slideLayout" Target="../slideLayouts/slideLayout213.xml"/><Relationship Id="rId18" Type="http://schemas.openxmlformats.org/officeDocument/2006/relationships/tags" Target="../tags/tag36.xml"/><Relationship Id="rId3" Type="http://schemas.openxmlformats.org/officeDocument/2006/relationships/slideLayout" Target="../slideLayouts/slideLayout20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07.xml"/><Relationship Id="rId12" Type="http://schemas.openxmlformats.org/officeDocument/2006/relationships/slideLayout" Target="../slideLayouts/slideLayout212.xml"/><Relationship Id="rId17" Type="http://schemas.openxmlformats.org/officeDocument/2006/relationships/theme" Target="../theme/theme18.xml"/><Relationship Id="rId2" Type="http://schemas.openxmlformats.org/officeDocument/2006/relationships/slideLayout" Target="../slideLayouts/slideLayout202.xml"/><Relationship Id="rId16" Type="http://schemas.openxmlformats.org/officeDocument/2006/relationships/slideLayout" Target="../slideLayouts/slideLayout216.xml"/><Relationship Id="rId20" Type="http://schemas.openxmlformats.org/officeDocument/2006/relationships/oleObject" Target="../embeddings/oleObject14.bin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slideLayout" Target="../slideLayouts/slideLayout211.xml"/><Relationship Id="rId5" Type="http://schemas.openxmlformats.org/officeDocument/2006/relationships/slideLayout" Target="../slideLayouts/slideLayout205.xml"/><Relationship Id="rId15" Type="http://schemas.openxmlformats.org/officeDocument/2006/relationships/slideLayout" Target="../slideLayouts/slideLayout215.xml"/><Relationship Id="rId10" Type="http://schemas.openxmlformats.org/officeDocument/2006/relationships/slideLayout" Target="../slideLayouts/slideLayout210.xml"/><Relationship Id="rId19" Type="http://schemas.openxmlformats.org/officeDocument/2006/relationships/tags" Target="../tags/tag37.xml"/><Relationship Id="rId4" Type="http://schemas.openxmlformats.org/officeDocument/2006/relationships/slideLayout" Target="../slideLayouts/slideLayout204.xml"/><Relationship Id="rId9" Type="http://schemas.openxmlformats.org/officeDocument/2006/relationships/slideLayout" Target="../slideLayouts/slideLayout209.xml"/><Relationship Id="rId14" Type="http://schemas.openxmlformats.org/officeDocument/2006/relationships/slideLayout" Target="../slideLayouts/slideLayout2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13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19.xml"/><Relationship Id="rId21" Type="http://schemas.openxmlformats.org/officeDocument/2006/relationships/oleObject" Target="../embeddings/oleObject3.bin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image" Target="../media/image6.png"/><Relationship Id="rId10" Type="http://schemas.openxmlformats.org/officeDocument/2006/relationships/slideLayout" Target="../slideLayouts/slideLayout26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36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tags" Target="../tags/tag9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image" Target="../media/image6.png"/><Relationship Id="rId10" Type="http://schemas.openxmlformats.org/officeDocument/2006/relationships/slideLayout" Target="../slideLayouts/slideLayout43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tags" Target="../tags/tag11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ags" Target="../tags/tag10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11.emf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ags" Target="../tags/tag12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2.xml"/><Relationship Id="rId16" Type="http://schemas.openxmlformats.org/officeDocument/2006/relationships/image" Target="../media/image11.emf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ags" Target="../tags/tag1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oleObject" Target="../embeddings/oleObject6.bin"/><Relationship Id="rId2" Type="http://schemas.openxmlformats.org/officeDocument/2006/relationships/slideLayout" Target="../slideLayouts/slideLayout73.xml"/><Relationship Id="rId16" Type="http://schemas.openxmlformats.org/officeDocument/2006/relationships/tags" Target="../tags/tag15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tags" Target="../tags/tag14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tags" Target="../tags/tag17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tags" Target="../tags/tag16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89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oleObject" Target="../embeddings/oleObject7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oleObject" Target="../embeddings/oleObject8.bin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ags" Target="../tags/tag19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tags" Target="../tags/tag18.xml"/><Relationship Id="rId5" Type="http://schemas.openxmlformats.org/officeDocument/2006/relationships/slideLayout" Target="../slideLayouts/slideLayout99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86A8D0-0C1E-4C63-BBAC-9706247F4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413818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83" imgH="384" progId="TCLayout.ActiveDocument.1">
                  <p:embed/>
                </p:oleObj>
              </mc:Choice>
              <mc:Fallback>
                <p:oleObj name="think-cell Slide" r:id="rId12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29A7279-692C-4194-B196-73505C405D36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Nexa Bold" panose="02000000000000000000" pitchFamily="50" charset="0"/>
              <a:ea typeface="+mj-ea"/>
              <a:cs typeface="+mj-cs"/>
              <a:sym typeface="Nexa Bold" panose="02000000000000000000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6DD0FF-B022-4A00-A1A7-6B31AEF1C56D}" type="datetime1">
              <a:rPr lang="id-ID" smtClean="0"/>
              <a:t>20/0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34578A-BCA8-4876-AF0A-3D493F00BD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9484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D06977C-D141-4E0D-A7E2-0EE47F0DB19B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623205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1" imgH="423" progId="TCLayout.ActiveDocument.1">
                  <p:embed/>
                </p:oleObj>
              </mc:Choice>
              <mc:Fallback>
                <p:oleObj name="think-cell Slide" r:id="rId15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D06977C-D141-4E0D-A7E2-0EE47F0DB1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B007159-F365-4281-94DE-0B4F181C17DD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Nexa Bold" panose="02000000000000000000" pitchFamily="50" charset="0"/>
              <a:ea typeface="+mj-ea"/>
              <a:cs typeface="+mj-cs"/>
              <a:sym typeface="Nexa Bold" panose="02000000000000000000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61E914-958C-4EF5-AFC6-1B7C38E7183D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079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D06977C-D141-4E0D-A7E2-0EE47F0DB19B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49565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1" imgH="423" progId="TCLayout.ActiveDocument.1">
                  <p:embed/>
                </p:oleObj>
              </mc:Choice>
              <mc:Fallback>
                <p:oleObj name="think-cell Slide" r:id="rId15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D06977C-D141-4E0D-A7E2-0EE47F0DB1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B007159-F365-4281-94DE-0B4F181C17DD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Nexa Bold" panose="02000000000000000000" pitchFamily="50" charset="0"/>
              <a:ea typeface="+mj-ea"/>
              <a:cs typeface="+mj-cs"/>
              <a:sym typeface="Nexa Bold" panose="02000000000000000000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360B99-CD91-4836-B9BB-409BA9610F72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945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C9E6793-ADA2-4DDC-97D5-D8FF95B956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04986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CA308-9110-4C00-BC16-866726D9255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3938BF1-7DE9-413A-A3ED-6E6D7F2A68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5E70C9-D219-47BF-BAFB-3FE1CF1CC7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97861A-6CA5-4987-93F4-197F1F8223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9B6572-4C86-4EE8-9210-1390FD2FA557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C6D08F-E37D-4ED4-91FE-794401D493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C3FA6F-165C-42C4-B2BA-8D4FD7151B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72136E-98DB-4223-B01A-AE522A373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2066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D06977C-D141-4E0D-A7E2-0EE47F0DB19B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69386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1" imgH="423" progId="TCLayout.ActiveDocument.1">
                  <p:embed/>
                </p:oleObj>
              </mc:Choice>
              <mc:Fallback>
                <p:oleObj name="think-cell Slide" r:id="rId15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D06977C-D141-4E0D-A7E2-0EE47F0DB1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B007159-F365-4281-94DE-0B4F181C17DD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Nexa Bold" panose="02000000000000000000" pitchFamily="50" charset="0"/>
              <a:ea typeface="+mj-ea"/>
              <a:cs typeface="+mj-cs"/>
              <a:sym typeface="Nexa Bold" panose="02000000000000000000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839095-150E-4689-A60A-F7BD06EEAA16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01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F113559-872A-4A71-9EB4-ABBA9BCD9D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03334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83" imgH="384" progId="TCLayout.ActiveDocument.1">
                  <p:embed/>
                </p:oleObj>
              </mc:Choice>
              <mc:Fallback>
                <p:oleObj name="think-cell Slide" r:id="rId1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7B18D0C-242E-4C49-ABF3-709255597482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Nexa Bold" panose="02000000000000000000" pitchFamily="50" charset="0"/>
              <a:ea typeface="+mj-ea"/>
              <a:cs typeface="+mj-cs"/>
              <a:sym typeface="Nexa Bold" panose="02000000000000000000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6B737-9B2C-40A7-ADA3-7C119DCB3A9E}" type="datetime1">
              <a:rPr lang="id-ID" smtClean="0"/>
              <a:t>20/08/2025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0EF5E4-35CF-4C29-B9F8-D683A03DA2A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423384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80A2606-E5DF-4B33-A50A-ABBB35DA8C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28008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6F09A3C-9524-4567-8FB4-1547B07FE24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113D151-1200-46F2-BD36-37D75D478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74710A-C690-4311-B9AF-C4369237A9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970A8B-E1F6-4CEC-8BA4-3EDAC201CA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627BD3-E588-478B-8BF0-CBC453DDBAAB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3DD7CE-B077-4D05-93CC-3D03C18536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52CBC4-A32F-4A91-BED3-77F41ECF20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1A8BE1-0559-494D-8385-07FBF7B67D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81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4604294-613D-4F84-84F8-05256F996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97175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DD06F45-FEB9-408B-8CD7-CBA1729CA2C2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A99DEC4-EB4E-46D1-A8E5-D51A320C6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55AE2D-66B9-4EEC-BA36-3F5E0529FC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08BE15-2DB0-41CF-8929-7ED3D7B1EA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0D1BFC-AFE5-4E08-84E6-93740999A3B2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F02125-427C-4C88-85EB-26C8226A7C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F11529-85BC-4DBF-ADD3-0584885616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7C0BAF-C1D7-47B4-92E2-0FDF16F4DB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2529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FE1C23D-A4C2-4A48-BF14-5604CA4D27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825078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83" imgH="384" progId="TCLayout.ActiveDocument.1">
                  <p:embed/>
                </p:oleObj>
              </mc:Choice>
              <mc:Fallback>
                <p:oleObj name="think-cell Slide" r:id="rId2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491BAC6-179B-4FF0-8CF2-FCB1E23ADF04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9359DA-1A47-4796-9B33-147991F5E340}" type="datetime1">
              <a:rPr lang="id-ID" smtClean="0"/>
              <a:t>20/08/2025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0EF5E4-35CF-4C29-B9F8-D683A03DA2A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11362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  <p:sldLayoutId id="2147483867" r:id="rId12"/>
    <p:sldLayoutId id="2147483868" r:id="rId13"/>
    <p:sldLayoutId id="2147483869" r:id="rId14"/>
    <p:sldLayoutId id="2147483870" r:id="rId15"/>
    <p:sldLayoutId id="2147483871" r:id="rId16"/>
    <p:sldLayoutId id="2147483872" r:id="rId17"/>
    <p:sldLayoutId id="2147483873" r:id="rId18"/>
    <p:sldLayoutId id="2147483874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95138A-A76B-48D9-B892-0E26F061AE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80613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83" imgH="384" progId="TCLayout.ActiveDocument.1">
                  <p:embed/>
                </p:oleObj>
              </mc:Choice>
              <mc:Fallback>
                <p:oleObj name="think-cell Slide" r:id="rId20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37F18D4-C6F8-4D01-87E5-B746BBA0E77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Nexa Bold" panose="02000000000000000000" pitchFamily="50" charset="0"/>
              <a:ea typeface="+mj-ea"/>
              <a:cs typeface="+mj-cs"/>
              <a:sym typeface="Nexa Bold" panose="02000000000000000000" pitchFamily="50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B6AA445-B3C9-4553-9084-9C3CAB3A4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D89DB2-9E5B-4EEB-BFF3-65D42492DE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1584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1" r:id="rId9"/>
    <p:sldLayoutId id="2147483902" r:id="rId10"/>
    <p:sldLayoutId id="2147483903" r:id="rId11"/>
    <p:sldLayoutId id="2147483904" r:id="rId12"/>
    <p:sldLayoutId id="2147483905" r:id="rId13"/>
    <p:sldLayoutId id="2147483906" r:id="rId14"/>
    <p:sldLayoutId id="2147483907" r:id="rId15"/>
    <p:sldLayoutId id="2147483908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Nexa Bold" panose="02000000000000000000" pitchFamily="50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Clr>
          <a:schemeClr val="accent2"/>
        </a:buClr>
        <a:buFont typeface="Nexa Light" panose="02000000000000000000" pitchFamily="50" charset="0"/>
        <a:buChar char="›"/>
        <a:defRPr sz="14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50000"/>
        </a:lnSpc>
        <a:spcBef>
          <a:spcPts val="500"/>
        </a:spcBef>
        <a:buClr>
          <a:schemeClr val="accent2"/>
        </a:buClr>
        <a:buFont typeface="Nexa Light" panose="02000000000000000000" pitchFamily="50" charset="0"/>
        <a:buChar char="›"/>
        <a:defRPr sz="12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50000"/>
        </a:lnSpc>
        <a:spcBef>
          <a:spcPts val="500"/>
        </a:spcBef>
        <a:buClr>
          <a:schemeClr val="accent2"/>
        </a:buClr>
        <a:buFont typeface="Nexa Light" panose="02000000000000000000" pitchFamily="50" charset="0"/>
        <a:buChar char="›"/>
        <a:defRPr sz="11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50000"/>
        </a:lnSpc>
        <a:spcBef>
          <a:spcPts val="500"/>
        </a:spcBef>
        <a:buClr>
          <a:schemeClr val="accent2"/>
        </a:buClr>
        <a:buFont typeface="Nexa Light" panose="02000000000000000000" pitchFamily="50" charset="0"/>
        <a:buChar char="›"/>
        <a:defRPr sz="105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50000"/>
        </a:lnSpc>
        <a:spcBef>
          <a:spcPts val="500"/>
        </a:spcBef>
        <a:buClr>
          <a:schemeClr val="accent2"/>
        </a:buClr>
        <a:buFont typeface="Nexa Light" panose="02000000000000000000" pitchFamily="50" charset="0"/>
        <a:buChar char="›"/>
        <a:defRPr sz="105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BC546B-5280-4B49-8D76-414D4CEBA3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511597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83" imgH="384" progId="TCLayout.ActiveDocument.1">
                  <p:embed/>
                </p:oleObj>
              </mc:Choice>
              <mc:Fallback>
                <p:oleObj name="think-cell Slide" r:id="rId12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E3F322-2C02-42B5-A0E8-912FFFF3F9B6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Nexa Bold" panose="02000000000000000000" pitchFamily="50" charset="0"/>
              <a:ea typeface="+mj-ea"/>
              <a:cs typeface="+mj-cs"/>
              <a:sym typeface="Nexa Bold" panose="02000000000000000000" pitchFamily="50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B6AA445-B3C9-4553-9084-9C3CAB3A4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D89DB2-9E5B-4EEB-BFF3-65D42492DE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353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Nexa Bold" panose="02000000000000000000" pitchFamily="50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Clr>
          <a:schemeClr val="accent2"/>
        </a:buClr>
        <a:buFont typeface="Nexa Light" panose="02000000000000000000" pitchFamily="50" charset="0"/>
        <a:buChar char="›"/>
        <a:defRPr sz="14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50000"/>
        </a:lnSpc>
        <a:spcBef>
          <a:spcPts val="500"/>
        </a:spcBef>
        <a:buClr>
          <a:schemeClr val="accent2"/>
        </a:buClr>
        <a:buFont typeface="Nexa Light" panose="02000000000000000000" pitchFamily="50" charset="0"/>
        <a:buChar char="›"/>
        <a:defRPr sz="12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50000"/>
        </a:lnSpc>
        <a:spcBef>
          <a:spcPts val="500"/>
        </a:spcBef>
        <a:buClr>
          <a:schemeClr val="accent2"/>
        </a:buClr>
        <a:buFont typeface="Nexa Light" panose="02000000000000000000" pitchFamily="50" charset="0"/>
        <a:buChar char="›"/>
        <a:defRPr sz="11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50000"/>
        </a:lnSpc>
        <a:spcBef>
          <a:spcPts val="500"/>
        </a:spcBef>
        <a:buClr>
          <a:schemeClr val="accent2"/>
        </a:buClr>
        <a:buFont typeface="Nexa Light" panose="02000000000000000000" pitchFamily="50" charset="0"/>
        <a:buChar char="›"/>
        <a:defRPr sz="105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50000"/>
        </a:lnSpc>
        <a:spcBef>
          <a:spcPts val="500"/>
        </a:spcBef>
        <a:buClr>
          <a:schemeClr val="accent2"/>
        </a:buClr>
        <a:buFont typeface="Nexa Light" panose="02000000000000000000" pitchFamily="50" charset="0"/>
        <a:buChar char="›"/>
        <a:defRPr sz="105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69A48-03A9-4615-9559-025D04F4EF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225744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83" imgH="384" progId="TCLayout.ActiveDocument.1">
                  <p:embed/>
                </p:oleObj>
              </mc:Choice>
              <mc:Fallback>
                <p:oleObj name="think-cell Slide" r:id="rId21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11D2983-686F-4489-9F73-3755AE26619A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Nexa Bold" panose="02000000000000000000" pitchFamily="50" charset="0"/>
              <a:ea typeface="+mj-ea"/>
              <a:cs typeface="+mj-cs"/>
              <a:sym typeface="Nexa Bold" panose="02000000000000000000" pitchFamily="50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B4285BD-3D1C-473E-A4B8-F33B6D79978A}"/>
              </a:ext>
            </a:extLst>
          </p:cNvPr>
          <p:cNvSpPr/>
          <p:nvPr/>
        </p:nvSpPr>
        <p:spPr>
          <a:xfrm>
            <a:off x="0" y="6664301"/>
            <a:ext cx="12192000" cy="197202"/>
          </a:xfrm>
          <a:prstGeom prst="rect">
            <a:avLst/>
          </a:prstGeom>
          <a:solidFill>
            <a:srgbClr val="CDCD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E202293A-9281-481E-9659-716094010A57}"/>
              </a:ext>
            </a:extLst>
          </p:cNvPr>
          <p:cNvSpPr/>
          <p:nvPr/>
        </p:nvSpPr>
        <p:spPr>
          <a:xfrm flipV="1">
            <a:off x="10970908" y="6462896"/>
            <a:ext cx="635664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C8EBE9FA-552C-4453-A469-7D28CA5506B0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3893" y="6206288"/>
            <a:ext cx="419813" cy="552823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DFA7F78D-360B-481F-B8DC-474CCBE8EB8C}"/>
              </a:ext>
            </a:extLst>
          </p:cNvPr>
          <p:cNvSpPr txBox="1">
            <a:spLocks/>
          </p:cNvSpPr>
          <p:nvPr/>
        </p:nvSpPr>
        <p:spPr>
          <a:xfrm>
            <a:off x="5778293" y="6660798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CONFIDINTIA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7ABF41B-273D-4C6A-889B-98AC86305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296" y="365126"/>
            <a:ext cx="10955709" cy="6005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935DB0-E24C-436A-812D-2D013FF0A7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5297" y="1598065"/>
            <a:ext cx="10955709" cy="45058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10">
            <a:extLst>
              <a:ext uri="{FF2B5EF4-FFF2-40B4-BE49-F238E27FC236}">
                <a16:creationId xmlns:a16="http://schemas.microsoft.com/office/drawing/2014/main" id="{896ABEF7-CA89-4E60-A396-3B62DD78E72B}"/>
              </a:ext>
            </a:extLst>
          </p:cNvPr>
          <p:cNvSpPr txBox="1">
            <a:spLocks/>
          </p:cNvSpPr>
          <p:nvPr/>
        </p:nvSpPr>
        <p:spPr>
          <a:xfrm>
            <a:off x="642957" y="6697853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sp>
        <p:nvSpPr>
          <p:cNvPr id="19" name="Slide Number Placeholder 10">
            <a:extLst>
              <a:ext uri="{FF2B5EF4-FFF2-40B4-BE49-F238E27FC236}">
                <a16:creationId xmlns:a16="http://schemas.microsoft.com/office/drawing/2014/main" id="{E8CF9FCF-B15C-4BEB-995E-CE1C2C9DCBE9}"/>
              </a:ext>
            </a:extLst>
          </p:cNvPr>
          <p:cNvSpPr txBox="1">
            <a:spLocks/>
          </p:cNvSpPr>
          <p:nvPr/>
        </p:nvSpPr>
        <p:spPr>
          <a:xfrm>
            <a:off x="642957" y="6697853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3BACF8E-5496-4E43-B1D1-CCA2D9B290B3}"/>
              </a:ext>
            </a:extLst>
          </p:cNvPr>
          <p:cNvSpPr/>
          <p:nvPr/>
        </p:nvSpPr>
        <p:spPr>
          <a:xfrm>
            <a:off x="596644" y="6660798"/>
            <a:ext cx="337791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 sz="1801" dirty="0"/>
          </a:p>
        </p:txBody>
      </p:sp>
      <p:sp>
        <p:nvSpPr>
          <p:cNvPr id="25" name="Slide Number Placeholder 10">
            <a:extLst>
              <a:ext uri="{FF2B5EF4-FFF2-40B4-BE49-F238E27FC236}">
                <a16:creationId xmlns:a16="http://schemas.microsoft.com/office/drawing/2014/main" id="{95768667-ECF0-46AA-B80E-6B592E20BE59}"/>
              </a:ext>
            </a:extLst>
          </p:cNvPr>
          <p:cNvSpPr txBox="1">
            <a:spLocks/>
          </p:cNvSpPr>
          <p:nvPr/>
        </p:nvSpPr>
        <p:spPr>
          <a:xfrm>
            <a:off x="655314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A33FB863-B6FC-4903-AA2B-8F2B42F29C08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 b="4005"/>
          <a:stretch/>
        </p:blipFill>
        <p:spPr>
          <a:xfrm>
            <a:off x="1" y="6089129"/>
            <a:ext cx="3492938" cy="57517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8A7AAA6-F018-42CC-9C9A-D7B8DE5394E9}"/>
              </a:ext>
            </a:extLst>
          </p:cNvPr>
          <p:cNvSpPr/>
          <p:nvPr/>
        </p:nvSpPr>
        <p:spPr>
          <a:xfrm>
            <a:off x="0" y="6664301"/>
            <a:ext cx="12192000" cy="193700"/>
          </a:xfrm>
          <a:prstGeom prst="rect">
            <a:avLst/>
          </a:prstGeom>
          <a:solidFill>
            <a:srgbClr val="CDCD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7132FD19-F692-46A3-9938-763DBF5C532C}"/>
              </a:ext>
            </a:extLst>
          </p:cNvPr>
          <p:cNvSpPr/>
          <p:nvPr/>
        </p:nvSpPr>
        <p:spPr>
          <a:xfrm flipV="1">
            <a:off x="10970908" y="6462896"/>
            <a:ext cx="635664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C7E31B4-89DE-4365-85E5-6BCDE917A62D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3893" y="6206288"/>
            <a:ext cx="419813" cy="552823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E9CA2C1-F692-45EC-A33F-9D37BA57681A}"/>
              </a:ext>
            </a:extLst>
          </p:cNvPr>
          <p:cNvSpPr txBox="1">
            <a:spLocks/>
          </p:cNvSpPr>
          <p:nvPr/>
        </p:nvSpPr>
        <p:spPr>
          <a:xfrm>
            <a:off x="5778293" y="6660798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CONFIDINTIAL</a:t>
            </a:r>
          </a:p>
        </p:txBody>
      </p:sp>
      <p:sp>
        <p:nvSpPr>
          <p:cNvPr id="21" name="Slide Number Placeholder 10">
            <a:extLst>
              <a:ext uri="{FF2B5EF4-FFF2-40B4-BE49-F238E27FC236}">
                <a16:creationId xmlns:a16="http://schemas.microsoft.com/office/drawing/2014/main" id="{0B348C7C-67EA-4F6F-A541-0082E7F3F224}"/>
              </a:ext>
            </a:extLst>
          </p:cNvPr>
          <p:cNvSpPr txBox="1">
            <a:spLocks/>
          </p:cNvSpPr>
          <p:nvPr/>
        </p:nvSpPr>
        <p:spPr>
          <a:xfrm>
            <a:off x="642957" y="6697853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sp>
        <p:nvSpPr>
          <p:cNvPr id="22" name="Slide Number Placeholder 10">
            <a:extLst>
              <a:ext uri="{FF2B5EF4-FFF2-40B4-BE49-F238E27FC236}">
                <a16:creationId xmlns:a16="http://schemas.microsoft.com/office/drawing/2014/main" id="{0D8F3109-EB36-4560-BC1F-4CF07BE97CB3}"/>
              </a:ext>
            </a:extLst>
          </p:cNvPr>
          <p:cNvSpPr txBox="1">
            <a:spLocks/>
          </p:cNvSpPr>
          <p:nvPr/>
        </p:nvSpPr>
        <p:spPr>
          <a:xfrm>
            <a:off x="642957" y="6697853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D6B9D9D-48BA-4E72-90A7-DDCDA12AAAAD}"/>
              </a:ext>
            </a:extLst>
          </p:cNvPr>
          <p:cNvSpPr/>
          <p:nvPr/>
        </p:nvSpPr>
        <p:spPr>
          <a:xfrm>
            <a:off x="596644" y="6660798"/>
            <a:ext cx="337791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 sz="1801" dirty="0"/>
          </a:p>
        </p:txBody>
      </p:sp>
      <p:sp>
        <p:nvSpPr>
          <p:cNvPr id="24" name="Slide Number Placeholder 10">
            <a:extLst>
              <a:ext uri="{FF2B5EF4-FFF2-40B4-BE49-F238E27FC236}">
                <a16:creationId xmlns:a16="http://schemas.microsoft.com/office/drawing/2014/main" id="{1D0936C6-9F21-4657-9788-7279A40C25CA}"/>
              </a:ext>
            </a:extLst>
          </p:cNvPr>
          <p:cNvSpPr txBox="1">
            <a:spLocks/>
          </p:cNvSpPr>
          <p:nvPr/>
        </p:nvSpPr>
        <p:spPr>
          <a:xfrm>
            <a:off x="655314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AA6EED32-0D57-4609-A3DD-F044591866A2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 b="4005"/>
          <a:stretch/>
        </p:blipFill>
        <p:spPr>
          <a:xfrm>
            <a:off x="1" y="6089129"/>
            <a:ext cx="3492938" cy="575171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7C758C-D975-43DA-A8DE-455053A5A5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613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Nexa Bold" panose="02000000000000000000" pitchFamily="50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1200"/>
        </a:spcAft>
        <a:buClr>
          <a:schemeClr val="accent2"/>
        </a:buClr>
        <a:buFont typeface="Nexa Light" panose="02000000000000000000" pitchFamily="50" charset="0"/>
        <a:buChar char="›"/>
        <a:defRPr sz="14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Clr>
          <a:schemeClr val="accent2"/>
        </a:buClr>
        <a:buFont typeface="Nexa Light" panose="02000000000000000000" pitchFamily="50" charset="0"/>
        <a:buChar char="›"/>
        <a:defRPr sz="12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Clr>
          <a:schemeClr val="accent2"/>
        </a:buClr>
        <a:buFont typeface="Nexa Light" panose="02000000000000000000" pitchFamily="50" charset="0"/>
        <a:buChar char="›"/>
        <a:defRPr sz="11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Clr>
          <a:schemeClr val="accent2"/>
        </a:buClr>
        <a:buFont typeface="Nexa Light" panose="02000000000000000000" pitchFamily="50" charset="0"/>
        <a:buChar char="›"/>
        <a:defRPr sz="105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Clr>
          <a:schemeClr val="accent2"/>
        </a:buClr>
        <a:buFont typeface="Nexa Light" panose="02000000000000000000" pitchFamily="50" charset="0"/>
        <a:buChar char="›"/>
        <a:defRPr sz="105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216">
          <p15:clr>
            <a:srgbClr val="F26B43"/>
          </p15:clr>
        </p15:guide>
        <p15:guide id="6" pos="168">
          <p15:clr>
            <a:srgbClr val="F26B43"/>
          </p15:clr>
        </p15:guide>
        <p15:guide id="7" orient="horz" pos="3888">
          <p15:clr>
            <a:srgbClr val="F26B43"/>
          </p15:clr>
        </p15:guide>
        <p15:guide id="8" pos="751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EAE5A28-FFF5-4E3D-A8BD-3B43AC8649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372047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83" imgH="384" progId="TCLayout.ActiveDocument.1">
                  <p:embed/>
                </p:oleObj>
              </mc:Choice>
              <mc:Fallback>
                <p:oleObj name="think-cell Slide" r:id="rId21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31D9E06-6234-4691-9A30-4FE34E367CC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Nexa Bold" panose="02000000000000000000" pitchFamily="50" charset="0"/>
              <a:ea typeface="+mj-ea"/>
              <a:cs typeface="+mj-cs"/>
              <a:sym typeface="Nexa Bold" panose="02000000000000000000" pitchFamily="50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B4285BD-3D1C-473E-A4B8-F33B6D79978A}"/>
              </a:ext>
            </a:extLst>
          </p:cNvPr>
          <p:cNvSpPr/>
          <p:nvPr/>
        </p:nvSpPr>
        <p:spPr>
          <a:xfrm>
            <a:off x="0" y="6664301"/>
            <a:ext cx="12192000" cy="197202"/>
          </a:xfrm>
          <a:prstGeom prst="rect">
            <a:avLst/>
          </a:prstGeom>
          <a:solidFill>
            <a:srgbClr val="CDCD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E202293A-9281-481E-9659-716094010A57}"/>
              </a:ext>
            </a:extLst>
          </p:cNvPr>
          <p:cNvSpPr/>
          <p:nvPr/>
        </p:nvSpPr>
        <p:spPr>
          <a:xfrm flipV="1">
            <a:off x="10970908" y="6462896"/>
            <a:ext cx="635664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C8EBE9FA-552C-4453-A469-7D28CA5506B0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3893" y="6206288"/>
            <a:ext cx="419813" cy="552823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DFA7F78D-360B-481F-B8DC-474CCBE8EB8C}"/>
              </a:ext>
            </a:extLst>
          </p:cNvPr>
          <p:cNvSpPr txBox="1">
            <a:spLocks/>
          </p:cNvSpPr>
          <p:nvPr/>
        </p:nvSpPr>
        <p:spPr>
          <a:xfrm>
            <a:off x="5778293" y="6660798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CONFIDINTIA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7ABF41B-273D-4C6A-889B-98AC86305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296" y="365126"/>
            <a:ext cx="10955709" cy="6005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935DB0-E24C-436A-812D-2D013FF0A7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5297" y="1598065"/>
            <a:ext cx="10955709" cy="45058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10">
            <a:extLst>
              <a:ext uri="{FF2B5EF4-FFF2-40B4-BE49-F238E27FC236}">
                <a16:creationId xmlns:a16="http://schemas.microsoft.com/office/drawing/2014/main" id="{896ABEF7-CA89-4E60-A396-3B62DD78E72B}"/>
              </a:ext>
            </a:extLst>
          </p:cNvPr>
          <p:cNvSpPr txBox="1">
            <a:spLocks/>
          </p:cNvSpPr>
          <p:nvPr/>
        </p:nvSpPr>
        <p:spPr>
          <a:xfrm>
            <a:off x="642957" y="6697853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sp>
        <p:nvSpPr>
          <p:cNvPr id="19" name="Slide Number Placeholder 10">
            <a:extLst>
              <a:ext uri="{FF2B5EF4-FFF2-40B4-BE49-F238E27FC236}">
                <a16:creationId xmlns:a16="http://schemas.microsoft.com/office/drawing/2014/main" id="{E8CF9FCF-B15C-4BEB-995E-CE1C2C9DCBE9}"/>
              </a:ext>
            </a:extLst>
          </p:cNvPr>
          <p:cNvSpPr txBox="1">
            <a:spLocks/>
          </p:cNvSpPr>
          <p:nvPr/>
        </p:nvSpPr>
        <p:spPr>
          <a:xfrm>
            <a:off x="642957" y="6697853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3BACF8E-5496-4E43-B1D1-CCA2D9B290B3}"/>
              </a:ext>
            </a:extLst>
          </p:cNvPr>
          <p:cNvSpPr/>
          <p:nvPr/>
        </p:nvSpPr>
        <p:spPr>
          <a:xfrm>
            <a:off x="596644" y="6660798"/>
            <a:ext cx="337791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 sz="1801" dirty="0"/>
          </a:p>
        </p:txBody>
      </p:sp>
      <p:sp>
        <p:nvSpPr>
          <p:cNvPr id="25" name="Slide Number Placeholder 10">
            <a:extLst>
              <a:ext uri="{FF2B5EF4-FFF2-40B4-BE49-F238E27FC236}">
                <a16:creationId xmlns:a16="http://schemas.microsoft.com/office/drawing/2014/main" id="{95768667-ECF0-46AA-B80E-6B592E20BE59}"/>
              </a:ext>
            </a:extLst>
          </p:cNvPr>
          <p:cNvSpPr txBox="1">
            <a:spLocks/>
          </p:cNvSpPr>
          <p:nvPr/>
        </p:nvSpPr>
        <p:spPr>
          <a:xfrm>
            <a:off x="655314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A33FB863-B6FC-4903-AA2B-8F2B42F29C08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 b="4005"/>
          <a:stretch/>
        </p:blipFill>
        <p:spPr>
          <a:xfrm>
            <a:off x="1" y="6089129"/>
            <a:ext cx="3492938" cy="57517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8A7AAA6-F018-42CC-9C9A-D7B8DE5394E9}"/>
              </a:ext>
            </a:extLst>
          </p:cNvPr>
          <p:cNvSpPr/>
          <p:nvPr/>
        </p:nvSpPr>
        <p:spPr>
          <a:xfrm>
            <a:off x="0" y="6664301"/>
            <a:ext cx="12192000" cy="193700"/>
          </a:xfrm>
          <a:prstGeom prst="rect">
            <a:avLst/>
          </a:prstGeom>
          <a:solidFill>
            <a:srgbClr val="CDCD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7132FD19-F692-46A3-9938-763DBF5C532C}"/>
              </a:ext>
            </a:extLst>
          </p:cNvPr>
          <p:cNvSpPr/>
          <p:nvPr/>
        </p:nvSpPr>
        <p:spPr>
          <a:xfrm flipV="1">
            <a:off x="10970908" y="6462896"/>
            <a:ext cx="635664" cy="41119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1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C7E31B4-89DE-4365-85E5-6BCDE917A62D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3893" y="6206288"/>
            <a:ext cx="419813" cy="552823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E9CA2C1-F692-45EC-A33F-9D37BA57681A}"/>
              </a:ext>
            </a:extLst>
          </p:cNvPr>
          <p:cNvSpPr txBox="1">
            <a:spLocks/>
          </p:cNvSpPr>
          <p:nvPr/>
        </p:nvSpPr>
        <p:spPr>
          <a:xfrm>
            <a:off x="5778293" y="6660798"/>
            <a:ext cx="629714" cy="197202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dirty="0">
                <a:solidFill>
                  <a:srgbClr val="D8243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CONFIDINTIAL</a:t>
            </a:r>
          </a:p>
        </p:txBody>
      </p:sp>
      <p:sp>
        <p:nvSpPr>
          <p:cNvPr id="21" name="Slide Number Placeholder 10">
            <a:extLst>
              <a:ext uri="{FF2B5EF4-FFF2-40B4-BE49-F238E27FC236}">
                <a16:creationId xmlns:a16="http://schemas.microsoft.com/office/drawing/2014/main" id="{0B348C7C-67EA-4F6F-A541-0082E7F3F224}"/>
              </a:ext>
            </a:extLst>
          </p:cNvPr>
          <p:cNvSpPr txBox="1">
            <a:spLocks/>
          </p:cNvSpPr>
          <p:nvPr/>
        </p:nvSpPr>
        <p:spPr>
          <a:xfrm>
            <a:off x="642957" y="6697853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sp>
        <p:nvSpPr>
          <p:cNvPr id="22" name="Slide Number Placeholder 10">
            <a:extLst>
              <a:ext uri="{FF2B5EF4-FFF2-40B4-BE49-F238E27FC236}">
                <a16:creationId xmlns:a16="http://schemas.microsoft.com/office/drawing/2014/main" id="{0D8F3109-EB36-4560-BC1F-4CF07BE97CB3}"/>
              </a:ext>
            </a:extLst>
          </p:cNvPr>
          <p:cNvSpPr txBox="1">
            <a:spLocks/>
          </p:cNvSpPr>
          <p:nvPr/>
        </p:nvSpPr>
        <p:spPr>
          <a:xfrm>
            <a:off x="642957" y="6697853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D6B9D9D-48BA-4E72-90A7-DDCDA12AAAAD}"/>
              </a:ext>
            </a:extLst>
          </p:cNvPr>
          <p:cNvSpPr/>
          <p:nvPr/>
        </p:nvSpPr>
        <p:spPr>
          <a:xfrm>
            <a:off x="596644" y="6660798"/>
            <a:ext cx="337791" cy="197202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d-ID" sz="1801" dirty="0"/>
          </a:p>
        </p:txBody>
      </p:sp>
      <p:sp>
        <p:nvSpPr>
          <p:cNvPr id="24" name="Slide Number Placeholder 10">
            <a:extLst>
              <a:ext uri="{FF2B5EF4-FFF2-40B4-BE49-F238E27FC236}">
                <a16:creationId xmlns:a16="http://schemas.microsoft.com/office/drawing/2014/main" id="{1D0936C6-9F21-4657-9788-7279A40C25CA}"/>
              </a:ext>
            </a:extLst>
          </p:cNvPr>
          <p:cNvSpPr txBox="1">
            <a:spLocks/>
          </p:cNvSpPr>
          <p:nvPr/>
        </p:nvSpPr>
        <p:spPr>
          <a:xfrm>
            <a:off x="655314" y="6703705"/>
            <a:ext cx="245700" cy="123111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1200" dirty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AA6EED32-0D57-4609-A3DD-F044591866A2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" b="4005"/>
          <a:stretch/>
        </p:blipFill>
        <p:spPr>
          <a:xfrm>
            <a:off x="1" y="6089129"/>
            <a:ext cx="3492938" cy="57517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E7597C-E1A2-4DC3-AFB6-02EB9021C5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387" y="6660798"/>
            <a:ext cx="4114800" cy="177866"/>
          </a:xfrm>
          <a:prstGeom prst="rect">
            <a:avLst/>
          </a:prstGeom>
        </p:spPr>
        <p:txBody>
          <a:bodyPr vert="horz" lIns="0" tIns="36000" rIns="0" bIns="36000" rtlCol="0" anchor="ctr" anchorCtr="0"/>
          <a:lstStyle>
            <a:lvl1pPr>
              <a:defRPr lang="en-US" sz="700" dirty="0">
                <a:solidFill>
                  <a:srgbClr val="D8243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7C758C-D975-43DA-A8DE-455053A5A5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6644" y="6660799"/>
            <a:ext cx="337791" cy="19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A311874-C102-4534-999D-E4267F8B4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0676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Nexa Bold" panose="02000000000000000000" pitchFamily="50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1200"/>
        </a:spcAft>
        <a:buClr>
          <a:schemeClr val="accent2"/>
        </a:buClr>
        <a:buFont typeface="Nexa Light" panose="02000000000000000000" pitchFamily="50" charset="0"/>
        <a:buChar char="›"/>
        <a:defRPr sz="14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Clr>
          <a:schemeClr val="accent2"/>
        </a:buClr>
        <a:buFont typeface="Nexa Light" panose="02000000000000000000" pitchFamily="50" charset="0"/>
        <a:buChar char="›"/>
        <a:defRPr sz="12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Clr>
          <a:schemeClr val="accent2"/>
        </a:buClr>
        <a:buFont typeface="Nexa Light" panose="02000000000000000000" pitchFamily="50" charset="0"/>
        <a:buChar char="›"/>
        <a:defRPr sz="11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Clr>
          <a:schemeClr val="accent2"/>
        </a:buClr>
        <a:buFont typeface="Nexa Light" panose="02000000000000000000" pitchFamily="50" charset="0"/>
        <a:buChar char="›"/>
        <a:defRPr sz="105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1200"/>
        </a:spcAft>
        <a:buClr>
          <a:schemeClr val="accent2"/>
        </a:buClr>
        <a:buFont typeface="Nexa Light" panose="02000000000000000000" pitchFamily="50" charset="0"/>
        <a:buChar char="›"/>
        <a:defRPr sz="105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216">
          <p15:clr>
            <a:srgbClr val="F26B43"/>
          </p15:clr>
        </p15:guide>
        <p15:guide id="6" pos="168">
          <p15:clr>
            <a:srgbClr val="F26B43"/>
          </p15:clr>
        </p15:guide>
        <p15:guide id="7" orient="horz" pos="3888">
          <p15:clr>
            <a:srgbClr val="F26B43"/>
          </p15:clr>
        </p15:guide>
        <p15:guide id="8" pos="75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D06977C-D141-4E0D-A7E2-0EE47F0DB19B}"/>
              </a:ext>
            </a:extLst>
          </p:cNvPr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792112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1" imgH="423" progId="TCLayout.ActiveDocument.1">
                  <p:embed/>
                </p:oleObj>
              </mc:Choice>
              <mc:Fallback>
                <p:oleObj name="think-cell Slide" r:id="rId14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D06977C-D141-4E0D-A7E2-0EE47F0DB1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B007159-F365-4281-94DE-0B4F181C17D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Nexa Bold" panose="02000000000000000000" pitchFamily="50" charset="0"/>
              <a:ea typeface="+mj-ea"/>
              <a:cs typeface="+mj-cs"/>
              <a:sym typeface="Nexa Bold" panose="02000000000000000000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035B57-281A-4553-9AE5-DB8F188FF674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130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D06977C-D141-4E0D-A7E2-0EE47F0DB19B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06939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1" imgH="423" progId="TCLayout.ActiveDocument.1">
                  <p:embed/>
                </p:oleObj>
              </mc:Choice>
              <mc:Fallback>
                <p:oleObj name="think-cell Slide" r:id="rId15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D06977C-D141-4E0D-A7E2-0EE47F0DB1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B007159-F365-4281-94DE-0B4F181C17DD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Nexa Bold" panose="02000000000000000000" pitchFamily="50" charset="0"/>
              <a:ea typeface="+mj-ea"/>
              <a:cs typeface="+mj-cs"/>
              <a:sym typeface="Nexa Bold" panose="02000000000000000000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C44DDB-53DD-4012-BC3A-27C913CB007C}" type="datetime1">
              <a:rPr lang="id-ID" smtClean="0"/>
              <a:t>20/0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F5EB97-1CC7-4966-8E85-4D1190509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5138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BCACBA-E0DD-4C06-B3D6-D8ABC67D1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366092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C695AC8-809E-4AA4-9FE5-C16B74AA6D88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Nexa Bold" panose="02000000000000000000" pitchFamily="50" charset="0"/>
              <a:ea typeface="+mj-ea"/>
              <a:cs typeface="+mj-cs"/>
              <a:sym typeface="Nexa Bold" panose="02000000000000000000" pitchFamily="50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B6AA445-B3C9-4553-9084-9C3CAB3A4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D89DB2-9E5B-4EEB-BFF3-65D42492DE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9251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876" r:id="rId12"/>
    <p:sldLayoutId id="2147483909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Nexa Bold" panose="02000000000000000000" pitchFamily="50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Clr>
          <a:schemeClr val="accent2"/>
        </a:buClr>
        <a:buFont typeface="Nexa Light" panose="02000000000000000000" pitchFamily="50" charset="0"/>
        <a:buChar char="›"/>
        <a:defRPr sz="14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50000"/>
        </a:lnSpc>
        <a:spcBef>
          <a:spcPts val="500"/>
        </a:spcBef>
        <a:buClr>
          <a:schemeClr val="accent2"/>
        </a:buClr>
        <a:buFont typeface="Nexa Light" panose="02000000000000000000" pitchFamily="50" charset="0"/>
        <a:buChar char="›"/>
        <a:defRPr sz="12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50000"/>
        </a:lnSpc>
        <a:spcBef>
          <a:spcPts val="500"/>
        </a:spcBef>
        <a:buClr>
          <a:schemeClr val="accent2"/>
        </a:buClr>
        <a:buFont typeface="Nexa Light" panose="02000000000000000000" pitchFamily="50" charset="0"/>
        <a:buChar char="›"/>
        <a:defRPr sz="11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50000"/>
        </a:lnSpc>
        <a:spcBef>
          <a:spcPts val="500"/>
        </a:spcBef>
        <a:buClr>
          <a:schemeClr val="accent2"/>
        </a:buClr>
        <a:buFont typeface="Nexa Light" panose="02000000000000000000" pitchFamily="50" charset="0"/>
        <a:buChar char="›"/>
        <a:defRPr sz="105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50000"/>
        </a:lnSpc>
        <a:spcBef>
          <a:spcPts val="500"/>
        </a:spcBef>
        <a:buClr>
          <a:schemeClr val="accent2"/>
        </a:buClr>
        <a:buFont typeface="Nexa Light" panose="02000000000000000000" pitchFamily="50" charset="0"/>
        <a:buChar char="›"/>
        <a:defRPr sz="105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25A5466-BA75-469F-B8F0-84C36822F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910257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3" imgH="384" progId="TCLayout.ActiveDocument.1">
                  <p:embed/>
                </p:oleObj>
              </mc:Choice>
              <mc:Fallback>
                <p:oleObj name="think-cell Slide" r:id="rId1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6A1499C-B4FF-47A6-AAC1-DF8F9A8149B2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Nexa Bold" panose="02000000000000000000" pitchFamily="50" charset="0"/>
              <a:ea typeface="+mj-ea"/>
              <a:cs typeface="+mj-cs"/>
              <a:sym typeface="Nexa Bold" panose="02000000000000000000" pitchFamily="50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B6AA445-B3C9-4553-9084-9C3CAB3A4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D89DB2-9E5B-4EEB-BFF3-65D42492DE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9006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Nexa Bold" panose="02000000000000000000" pitchFamily="50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Clr>
          <a:schemeClr val="accent2"/>
        </a:buClr>
        <a:buFont typeface="Nexa Light" panose="02000000000000000000" pitchFamily="50" charset="0"/>
        <a:buChar char="›"/>
        <a:defRPr sz="14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50000"/>
        </a:lnSpc>
        <a:spcBef>
          <a:spcPts val="500"/>
        </a:spcBef>
        <a:buClr>
          <a:schemeClr val="accent2"/>
        </a:buClr>
        <a:buFont typeface="Nexa Light" panose="02000000000000000000" pitchFamily="50" charset="0"/>
        <a:buChar char="›"/>
        <a:defRPr sz="12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50000"/>
        </a:lnSpc>
        <a:spcBef>
          <a:spcPts val="500"/>
        </a:spcBef>
        <a:buClr>
          <a:schemeClr val="accent2"/>
        </a:buClr>
        <a:buFont typeface="Nexa Light" panose="02000000000000000000" pitchFamily="50" charset="0"/>
        <a:buChar char="›"/>
        <a:defRPr sz="11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50000"/>
        </a:lnSpc>
        <a:spcBef>
          <a:spcPts val="500"/>
        </a:spcBef>
        <a:buClr>
          <a:schemeClr val="accent2"/>
        </a:buClr>
        <a:buFont typeface="Nexa Light" panose="02000000000000000000" pitchFamily="50" charset="0"/>
        <a:buChar char="›"/>
        <a:defRPr sz="105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50000"/>
        </a:lnSpc>
        <a:spcBef>
          <a:spcPts val="500"/>
        </a:spcBef>
        <a:buClr>
          <a:schemeClr val="accent2"/>
        </a:buClr>
        <a:buFont typeface="Nexa Light" panose="02000000000000000000" pitchFamily="50" charset="0"/>
        <a:buChar char="›"/>
        <a:defRPr sz="105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93A62A0-9027-4089-A4EC-F5657A1794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640449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83" imgH="384" progId="TCLayout.ActiveDocument.1">
                  <p:embed/>
                </p:oleObj>
              </mc:Choice>
              <mc:Fallback>
                <p:oleObj name="think-cell Slide" r:id="rId1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52B0F5-43FC-4CD3-B101-044785AFD297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Nexa Bold" panose="02000000000000000000" pitchFamily="50" charset="0"/>
              <a:ea typeface="+mj-ea"/>
              <a:cs typeface="+mj-cs"/>
              <a:sym typeface="Nexa Bold" panose="02000000000000000000" pitchFamily="50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B6AA445-B3C9-4553-9084-9C3CAB3A4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D89DB2-9E5B-4EEB-BFF3-65D42492DE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6713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Nexa Bold" panose="02000000000000000000" pitchFamily="50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Clr>
          <a:schemeClr val="accent2"/>
        </a:buClr>
        <a:buFont typeface="Nexa Light" panose="02000000000000000000" pitchFamily="50" charset="0"/>
        <a:buChar char="›"/>
        <a:defRPr sz="14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50000"/>
        </a:lnSpc>
        <a:spcBef>
          <a:spcPts val="500"/>
        </a:spcBef>
        <a:buClr>
          <a:schemeClr val="accent2"/>
        </a:buClr>
        <a:buFont typeface="Nexa Light" panose="02000000000000000000" pitchFamily="50" charset="0"/>
        <a:buChar char="›"/>
        <a:defRPr sz="12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50000"/>
        </a:lnSpc>
        <a:spcBef>
          <a:spcPts val="500"/>
        </a:spcBef>
        <a:buClr>
          <a:schemeClr val="accent2"/>
        </a:buClr>
        <a:buFont typeface="Nexa Light" panose="02000000000000000000" pitchFamily="50" charset="0"/>
        <a:buChar char="›"/>
        <a:defRPr sz="110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50000"/>
        </a:lnSpc>
        <a:spcBef>
          <a:spcPts val="500"/>
        </a:spcBef>
        <a:buClr>
          <a:schemeClr val="accent2"/>
        </a:buClr>
        <a:buFont typeface="Nexa Light" panose="02000000000000000000" pitchFamily="50" charset="0"/>
        <a:buChar char="›"/>
        <a:defRPr sz="105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50000"/>
        </a:lnSpc>
        <a:spcBef>
          <a:spcPts val="500"/>
        </a:spcBef>
        <a:buClr>
          <a:schemeClr val="accent2"/>
        </a:buClr>
        <a:buFont typeface="Nexa Light" panose="02000000000000000000" pitchFamily="50" charset="0"/>
        <a:buChar char="›"/>
        <a:defRPr sz="1050" kern="1200">
          <a:solidFill>
            <a:schemeClr val="tx1"/>
          </a:solidFill>
          <a:latin typeface="Nexa Light" panose="02000000000000000000" pitchFamily="50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4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0.xml"/><Relationship Id="rId7" Type="http://schemas.openxmlformats.org/officeDocument/2006/relationships/image" Target="../media/image31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80.xml"/><Relationship Id="rId1" Type="http://schemas.openxmlformats.org/officeDocument/2006/relationships/tags" Target="../tags/tag40.xml"/><Relationship Id="rId4" Type="http://schemas.openxmlformats.org/officeDocument/2006/relationships/image" Target="../media/image3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80.xml"/><Relationship Id="rId1" Type="http://schemas.openxmlformats.org/officeDocument/2006/relationships/tags" Target="../tags/tag4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80.xml"/><Relationship Id="rId1" Type="http://schemas.openxmlformats.org/officeDocument/2006/relationships/tags" Target="../tags/tag42.xml"/><Relationship Id="rId4" Type="http://schemas.openxmlformats.org/officeDocument/2006/relationships/image" Target="../media/image3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80.xml"/><Relationship Id="rId1" Type="http://schemas.openxmlformats.org/officeDocument/2006/relationships/tags" Target="../tags/tag43.xml"/><Relationship Id="rId4" Type="http://schemas.openxmlformats.org/officeDocument/2006/relationships/image" Target="../media/image32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80.xml"/><Relationship Id="rId1" Type="http://schemas.openxmlformats.org/officeDocument/2006/relationships/tags" Target="../tags/tag44.xml"/><Relationship Id="rId6" Type="http://schemas.openxmlformats.org/officeDocument/2006/relationships/image" Target="../media/image33.png"/><Relationship Id="rId5" Type="http://schemas.openxmlformats.org/officeDocument/2006/relationships/image" Target="../media/image35.png"/><Relationship Id="rId10" Type="http://schemas.openxmlformats.org/officeDocument/2006/relationships/image" Target="../media/image39.png"/><Relationship Id="rId4" Type="http://schemas.openxmlformats.org/officeDocument/2006/relationships/image" Target="../media/image32.emf"/><Relationship Id="rId9" Type="http://schemas.openxmlformats.org/officeDocument/2006/relationships/image" Target="../media/image3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80.xml"/><Relationship Id="rId1" Type="http://schemas.openxmlformats.org/officeDocument/2006/relationships/tags" Target="../tags/tag45.xml"/><Relationship Id="rId5" Type="http://schemas.openxmlformats.org/officeDocument/2006/relationships/hyperlink" Target="https://cloud.24slides.dev/s/CjCdfoAADZC8BK9" TargetMode="External"/><Relationship Id="rId4" Type="http://schemas.openxmlformats.org/officeDocument/2006/relationships/image" Target="../media/image3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EC4F0375-2CAE-4957-AE2A-FC969FF0E59E}"/>
              </a:ext>
            </a:extLst>
          </p:cNvPr>
          <p:cNvSpPr/>
          <p:nvPr/>
        </p:nvSpPr>
        <p:spPr>
          <a:xfrm>
            <a:off x="2728686" y="5782647"/>
            <a:ext cx="9463314" cy="10733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74669A6-0F46-4F1A-9F11-154F7C7E2503}"/>
              </a:ext>
            </a:extLst>
          </p:cNvPr>
          <p:cNvSpPr/>
          <p:nvPr/>
        </p:nvSpPr>
        <p:spPr>
          <a:xfrm rot="18900000" flipH="1">
            <a:off x="11190092" y="-545190"/>
            <a:ext cx="961457" cy="1410255"/>
          </a:xfrm>
          <a:custGeom>
            <a:avLst/>
            <a:gdLst>
              <a:gd name="connsiteX0" fmla="*/ 0 w 961457"/>
              <a:gd name="connsiteY0" fmla="*/ 961457 h 1410255"/>
              <a:gd name="connsiteX1" fmla="*/ 448799 w 961457"/>
              <a:gd name="connsiteY1" fmla="*/ 1410255 h 1410255"/>
              <a:gd name="connsiteX2" fmla="*/ 771925 w 961457"/>
              <a:gd name="connsiteY2" fmla="*/ 1410255 h 1410255"/>
              <a:gd name="connsiteX3" fmla="*/ 961457 w 961457"/>
              <a:gd name="connsiteY3" fmla="*/ 1220723 h 1410255"/>
              <a:gd name="connsiteX4" fmla="*/ 961457 w 961457"/>
              <a:gd name="connsiteY4" fmla="*/ 0 h 1410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1457" h="1410255">
                <a:moveTo>
                  <a:pt x="0" y="961457"/>
                </a:moveTo>
                <a:lnTo>
                  <a:pt x="448799" y="1410255"/>
                </a:lnTo>
                <a:lnTo>
                  <a:pt x="771925" y="1410255"/>
                </a:lnTo>
                <a:cubicBezTo>
                  <a:pt x="876601" y="1410255"/>
                  <a:pt x="961457" y="1325399"/>
                  <a:pt x="961457" y="1220723"/>
                </a:cubicBezTo>
                <a:lnTo>
                  <a:pt x="961457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LT Arabic 55 Roman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3A7DDD1-8E3A-41EB-9F8F-DBCDCAB729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23" t="669" r="23273" b="1558"/>
          <a:stretch/>
        </p:blipFill>
        <p:spPr bwMode="auto">
          <a:xfrm>
            <a:off x="1" y="506218"/>
            <a:ext cx="7812872" cy="6364280"/>
          </a:xfrm>
          <a:custGeom>
            <a:avLst/>
            <a:gdLst>
              <a:gd name="connsiteX0" fmla="*/ 432943 w 7812872"/>
              <a:gd name="connsiteY0" fmla="*/ 36 h 6364280"/>
              <a:gd name="connsiteX1" fmla="*/ 2153736 w 7812872"/>
              <a:gd name="connsiteY1" fmla="*/ 705144 h 6364280"/>
              <a:gd name="connsiteX2" fmla="*/ 7812872 w 7812872"/>
              <a:gd name="connsiteY2" fmla="*/ 6364280 h 6364280"/>
              <a:gd name="connsiteX3" fmla="*/ 0 w 7812872"/>
              <a:gd name="connsiteY3" fmla="*/ 6364280 h 6364280"/>
              <a:gd name="connsiteX4" fmla="*/ 0 w 7812872"/>
              <a:gd name="connsiteY4" fmla="*/ 42231 h 6364280"/>
              <a:gd name="connsiteX5" fmla="*/ 199099 w 7812872"/>
              <a:gd name="connsiteY5" fmla="*/ 12454 h 6364280"/>
              <a:gd name="connsiteX6" fmla="*/ 432943 w 7812872"/>
              <a:gd name="connsiteY6" fmla="*/ 36 h 6364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12872" h="6364280">
                <a:moveTo>
                  <a:pt x="432943" y="36"/>
                </a:moveTo>
                <a:cubicBezTo>
                  <a:pt x="1057135" y="-3316"/>
                  <a:pt x="1680049" y="231457"/>
                  <a:pt x="2153736" y="705144"/>
                </a:cubicBezTo>
                <a:lnTo>
                  <a:pt x="7812872" y="6364280"/>
                </a:lnTo>
                <a:lnTo>
                  <a:pt x="0" y="6364280"/>
                </a:lnTo>
                <a:lnTo>
                  <a:pt x="0" y="42231"/>
                </a:lnTo>
                <a:lnTo>
                  <a:pt x="199099" y="12454"/>
                </a:lnTo>
                <a:cubicBezTo>
                  <a:pt x="276876" y="4596"/>
                  <a:pt x="354921" y="455"/>
                  <a:pt x="432943" y="36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20EA8998-6451-4C08-9EBD-7FB5DBC31DF4}"/>
              </a:ext>
            </a:extLst>
          </p:cNvPr>
          <p:cNvSpPr/>
          <p:nvPr/>
        </p:nvSpPr>
        <p:spPr>
          <a:xfrm rot="18900000" flipH="1">
            <a:off x="11308273" y="-462544"/>
            <a:ext cx="829530" cy="1147643"/>
          </a:xfrm>
          <a:custGeom>
            <a:avLst/>
            <a:gdLst>
              <a:gd name="connsiteX0" fmla="*/ 0 w 5394336"/>
              <a:gd name="connsiteY0" fmla="*/ 5394336 h 7462990"/>
              <a:gd name="connsiteX1" fmla="*/ 5394336 w 5394336"/>
              <a:gd name="connsiteY1" fmla="*/ 0 h 7462990"/>
              <a:gd name="connsiteX2" fmla="*/ 5394336 w 5394336"/>
              <a:gd name="connsiteY2" fmla="*/ 6459995 h 7462990"/>
              <a:gd name="connsiteX3" fmla="*/ 4391341 w 5394336"/>
              <a:gd name="connsiteY3" fmla="*/ 7462990 h 7462990"/>
              <a:gd name="connsiteX4" fmla="*/ 2068655 w 5394336"/>
              <a:gd name="connsiteY4" fmla="*/ 7462990 h 7462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94336" h="7462990">
                <a:moveTo>
                  <a:pt x="0" y="5394336"/>
                </a:moveTo>
                <a:lnTo>
                  <a:pt x="5394336" y="0"/>
                </a:lnTo>
                <a:lnTo>
                  <a:pt x="5394336" y="6459995"/>
                </a:lnTo>
                <a:cubicBezTo>
                  <a:pt x="5394336" y="7013935"/>
                  <a:pt x="4945281" y="7462990"/>
                  <a:pt x="4391341" y="7462990"/>
                </a:cubicBezTo>
                <a:lnTo>
                  <a:pt x="2068655" y="7462990"/>
                </a:lnTo>
                <a:close/>
              </a:path>
            </a:pathLst>
          </a:cu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LT Arabic 55 Roman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A17BF5A-C283-4D16-85B8-C2F94708AC90}"/>
              </a:ext>
            </a:extLst>
          </p:cNvPr>
          <p:cNvSpPr/>
          <p:nvPr/>
        </p:nvSpPr>
        <p:spPr>
          <a:xfrm rot="18900000" flipV="1">
            <a:off x="-231293" y="2497855"/>
            <a:ext cx="3841510" cy="6703230"/>
          </a:xfrm>
          <a:custGeom>
            <a:avLst/>
            <a:gdLst>
              <a:gd name="connsiteX0" fmla="*/ 3810235 w 4092633"/>
              <a:gd name="connsiteY0" fmla="*/ 6859028 h 7141426"/>
              <a:gd name="connsiteX1" fmla="*/ 4092633 w 4092633"/>
              <a:gd name="connsiteY1" fmla="*/ 6177259 h 7141426"/>
              <a:gd name="connsiteX2" fmla="*/ 4092633 w 4092633"/>
              <a:gd name="connsiteY2" fmla="*/ 0 h 7141426"/>
              <a:gd name="connsiteX3" fmla="*/ 0 w 4092633"/>
              <a:gd name="connsiteY3" fmla="*/ 4092634 h 7141426"/>
              <a:gd name="connsiteX4" fmla="*/ 3048792 w 4092633"/>
              <a:gd name="connsiteY4" fmla="*/ 7141426 h 7141426"/>
              <a:gd name="connsiteX5" fmla="*/ 3128466 w 4092633"/>
              <a:gd name="connsiteY5" fmla="*/ 7141426 h 7141426"/>
              <a:gd name="connsiteX6" fmla="*/ 3810235 w 4092633"/>
              <a:gd name="connsiteY6" fmla="*/ 6859028 h 7141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2633" h="7141426">
                <a:moveTo>
                  <a:pt x="3810235" y="6859028"/>
                </a:moveTo>
                <a:cubicBezTo>
                  <a:pt x="3984715" y="6684549"/>
                  <a:pt x="4092633" y="6443507"/>
                  <a:pt x="4092633" y="6177259"/>
                </a:cubicBezTo>
                <a:lnTo>
                  <a:pt x="4092633" y="0"/>
                </a:lnTo>
                <a:lnTo>
                  <a:pt x="0" y="4092634"/>
                </a:lnTo>
                <a:lnTo>
                  <a:pt x="3048792" y="7141426"/>
                </a:lnTo>
                <a:lnTo>
                  <a:pt x="3128466" y="7141426"/>
                </a:lnTo>
                <a:cubicBezTo>
                  <a:pt x="3394714" y="7141426"/>
                  <a:pt x="3635755" y="7033508"/>
                  <a:pt x="3810235" y="6859028"/>
                </a:cubicBezTo>
                <a:close/>
              </a:path>
            </a:pathLst>
          </a:custGeom>
          <a:solidFill>
            <a:srgbClr val="D82435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LT Arabic 55 Roman"/>
              <a:ea typeface="+mn-ea"/>
              <a:cs typeface="+mn-cs"/>
            </a:endParaRP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FF748944-AF93-4DDB-90EC-6E899E39F473}"/>
              </a:ext>
            </a:extLst>
          </p:cNvPr>
          <p:cNvSpPr/>
          <p:nvPr/>
        </p:nvSpPr>
        <p:spPr>
          <a:xfrm>
            <a:off x="0" y="5416084"/>
            <a:ext cx="1441174" cy="1441916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B566141C-9651-4F35-BF9C-9CA92864A793}"/>
              </a:ext>
            </a:extLst>
          </p:cNvPr>
          <p:cNvSpPr txBox="1">
            <a:spLocks/>
          </p:cNvSpPr>
          <p:nvPr/>
        </p:nvSpPr>
        <p:spPr>
          <a:xfrm>
            <a:off x="5787860" y="3132175"/>
            <a:ext cx="5897079" cy="1083911"/>
          </a:xfrm>
          <a:prstGeom prst="rect">
            <a:avLst/>
          </a:prstGeom>
        </p:spPr>
        <p:txBody>
          <a:bodyPr rIns="9144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Nexa Bold" panose="02000000000000000000" pitchFamily="50" charset="0"/>
                <a:ea typeface="+mj-ea"/>
                <a:cs typeface="+mj-cs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cs typeface="HelveticaNeueLT Arabic 75 Bold" panose="020B0804020202020204" pitchFamily="34" charset="-78"/>
              </a:rPr>
              <a:t>Kaffa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HelveticaNeueLT Arabic 75 Bold" panose="020B0804020202020204" pitchFamily="34" charset="-78"/>
              </a:rPr>
              <a:t> Guideline</a:t>
            </a:r>
            <a:endParaRPr kumimoji="0" lang="ar-AE" sz="3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HelveticaNeueLT Arabic 75 Bold" panose="020B0804020202020204" pitchFamily="34" charset="-78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832AAE8-1328-4E70-AAFB-849394B69438}"/>
              </a:ext>
            </a:extLst>
          </p:cNvPr>
          <p:cNvSpPr txBox="1"/>
          <p:nvPr/>
        </p:nvSpPr>
        <p:spPr>
          <a:xfrm>
            <a:off x="9968695" y="5675828"/>
            <a:ext cx="1643778" cy="347285"/>
          </a:xfrm>
          <a:prstGeom prst="round2DiagRect">
            <a:avLst>
              <a:gd name="adj1" fmla="val 27432"/>
              <a:gd name="adj2" fmla="val 0"/>
            </a:avLst>
          </a:prstGeom>
          <a:solidFill>
            <a:srgbClr val="D82435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LT Arabic 75 Bold" panose="020B0804020202020204" pitchFamily="34" charset="-78"/>
                <a:ea typeface="+mn-ea"/>
                <a:cs typeface="HelveticaNeueLT Arabic 75 Bold" panose="020B0804020202020204" pitchFamily="34" charset="-78"/>
              </a:rPr>
              <a:t>2023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7DDB89C-2A96-4C0E-8568-51135CE10A75}"/>
              </a:ext>
            </a:extLst>
          </p:cNvPr>
          <p:cNvCxnSpPr/>
          <p:nvPr/>
        </p:nvCxnSpPr>
        <p:spPr>
          <a:xfrm flipH="1">
            <a:off x="6896100" y="5486400"/>
            <a:ext cx="471637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arallelogram 31">
            <a:extLst>
              <a:ext uri="{FF2B5EF4-FFF2-40B4-BE49-F238E27FC236}">
                <a16:creationId xmlns:a16="http://schemas.microsoft.com/office/drawing/2014/main" id="{F0682491-DDE2-4DE5-A545-429598A922B8}"/>
              </a:ext>
            </a:extLst>
          </p:cNvPr>
          <p:cNvSpPr/>
          <p:nvPr/>
        </p:nvSpPr>
        <p:spPr>
          <a:xfrm rot="20952623" flipH="1">
            <a:off x="2091312" y="12877"/>
            <a:ext cx="4003520" cy="4957483"/>
          </a:xfrm>
          <a:prstGeom prst="parallelogram">
            <a:avLst>
              <a:gd name="adj" fmla="val 84141"/>
            </a:avLst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28000">
                <a:schemeClr val="bg1">
                  <a:lumMod val="85000"/>
                  <a:alpha val="31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Parallelogram 32">
            <a:extLst>
              <a:ext uri="{FF2B5EF4-FFF2-40B4-BE49-F238E27FC236}">
                <a16:creationId xmlns:a16="http://schemas.microsoft.com/office/drawing/2014/main" id="{5C8415FA-B894-4725-ADA0-1132B2D7C6E7}"/>
              </a:ext>
            </a:extLst>
          </p:cNvPr>
          <p:cNvSpPr/>
          <p:nvPr/>
        </p:nvSpPr>
        <p:spPr>
          <a:xfrm rot="20952623" flipH="1">
            <a:off x="9677892" y="-620"/>
            <a:ext cx="2692219" cy="3333723"/>
          </a:xfrm>
          <a:prstGeom prst="parallelogram">
            <a:avLst>
              <a:gd name="adj" fmla="val 84141"/>
            </a:avLst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28000">
                <a:schemeClr val="bg1">
                  <a:lumMod val="85000"/>
                  <a:alpha val="31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Parallelogram 33">
            <a:extLst>
              <a:ext uri="{FF2B5EF4-FFF2-40B4-BE49-F238E27FC236}">
                <a16:creationId xmlns:a16="http://schemas.microsoft.com/office/drawing/2014/main" id="{C348894F-5471-48ED-922B-CB0DC13AD854}"/>
              </a:ext>
            </a:extLst>
          </p:cNvPr>
          <p:cNvSpPr/>
          <p:nvPr/>
        </p:nvSpPr>
        <p:spPr>
          <a:xfrm rot="20952623" flipH="1">
            <a:off x="8841658" y="-190048"/>
            <a:ext cx="2692219" cy="3333723"/>
          </a:xfrm>
          <a:prstGeom prst="parallelogram">
            <a:avLst>
              <a:gd name="adj" fmla="val 84141"/>
            </a:avLst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28000">
                <a:schemeClr val="bg1">
                  <a:lumMod val="85000"/>
                  <a:alpha val="31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81633EA-7B7F-4D8F-BD0B-6349DC624CA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7767" y="1690155"/>
            <a:ext cx="1535270" cy="706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3859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A15CE6A-D299-4861-8E78-A6C1C6B104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426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A15CE6A-D299-4861-8E78-A6C1C6B104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910B3B11-DC88-4B23-A065-D312A1E4B20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ar-SA" sz="2400" dirty="0">
              <a:latin typeface="HelveticaNeueLT Arabic 75 Bold" panose="020B0804020202020204" pitchFamily="34" charset="-78"/>
              <a:ea typeface="+mj-ea"/>
              <a:cs typeface="HelveticaNeueLT Arabic 75 Bold" panose="020B0804020202020204" pitchFamily="34" charset="-78"/>
              <a:sym typeface="HelveticaNeueLT Arabic 75 Bold" panose="020B0804020202020204" pitchFamily="34" charset="-78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09A57FF-0BAC-D45E-255F-BB0B1092C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350121"/>
            <a:ext cx="11506200" cy="348380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l" rtl="0"/>
            <a:r>
              <a:rPr lang="en-US" sz="4800" dirty="0">
                <a:solidFill>
                  <a:schemeClr val="tx2"/>
                </a:solidFill>
                <a:latin typeface="Nexa Bold" panose="02000000000000000000" pitchFamily="50" charset="0"/>
              </a:rPr>
              <a:t>Colors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9435370-78E3-42A5-8F37-454C76388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10" y="6448505"/>
            <a:ext cx="358756" cy="172076"/>
          </a:xfrm>
        </p:spPr>
        <p:txBody>
          <a:bodyPr anchor="ctr"/>
          <a:lstStyle/>
          <a:p>
            <a:pPr lvl="0"/>
            <a:fld id="{E60EF5E4-35CF-4C29-B9F8-D683A03DA2A9}" type="slidenum">
              <a:rPr lang="id-ID" noProof="0"/>
              <a:pPr lvl="0"/>
              <a:t>2</a:t>
            </a:fld>
            <a:endParaRPr lang="id-ID" noProof="0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D9C41D9-6286-B465-5F69-C95C81DB61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2901" y="1201456"/>
            <a:ext cx="1835534" cy="4744013"/>
          </a:xfrm>
          <a:prstGeom prst="rect">
            <a:avLst/>
          </a:prstGeom>
        </p:spPr>
      </p:pic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E2511BDB-C54E-A636-0CCF-E9954C1E4CB5}"/>
              </a:ext>
            </a:extLst>
          </p:cNvPr>
          <p:cNvSpPr/>
          <p:nvPr/>
        </p:nvSpPr>
        <p:spPr>
          <a:xfrm>
            <a:off x="2558005" y="2077299"/>
            <a:ext cx="1145894" cy="1145894"/>
          </a:xfrm>
          <a:prstGeom prst="roundRect">
            <a:avLst>
              <a:gd name="adj" fmla="val 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Nexa Bold" panose="02000000000000000000" pitchFamily="50" charset="0"/>
              </a:rPr>
              <a:t>#C00000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F99D2837-201F-4075-287A-FBA235720543}"/>
              </a:ext>
            </a:extLst>
          </p:cNvPr>
          <p:cNvSpPr/>
          <p:nvPr/>
        </p:nvSpPr>
        <p:spPr>
          <a:xfrm>
            <a:off x="2558005" y="3438437"/>
            <a:ext cx="1145894" cy="1145894"/>
          </a:xfrm>
          <a:prstGeom prst="roundRect">
            <a:avLst>
              <a:gd name="adj" fmla="val 0"/>
            </a:avLst>
          </a:prstGeom>
          <a:solidFill>
            <a:srgbClr val="FA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Nexa Bold" panose="02000000000000000000" pitchFamily="50" charset="0"/>
              </a:rPr>
              <a:t>#FA0000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8B0CB582-34EE-9C93-D063-752AA12928A4}"/>
              </a:ext>
            </a:extLst>
          </p:cNvPr>
          <p:cNvSpPr/>
          <p:nvPr/>
        </p:nvSpPr>
        <p:spPr>
          <a:xfrm>
            <a:off x="3795300" y="3438437"/>
            <a:ext cx="1145894" cy="1145894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Nexa Bold" panose="02000000000000000000" pitchFamily="50" charset="0"/>
              </a:rPr>
              <a:t>#FF5B5B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7FA71B05-F179-6C8D-046B-3C8CF8307D2B}"/>
              </a:ext>
            </a:extLst>
          </p:cNvPr>
          <p:cNvSpPr/>
          <p:nvPr/>
        </p:nvSpPr>
        <p:spPr>
          <a:xfrm>
            <a:off x="2558005" y="4799575"/>
            <a:ext cx="1145894" cy="114589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Nexa Bold" panose="02000000000000000000" pitchFamily="50" charset="0"/>
              </a:rPr>
              <a:t>#3F3F3F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4332DDAC-894B-3D95-EE5C-5C5B6D56A83D}"/>
              </a:ext>
            </a:extLst>
          </p:cNvPr>
          <p:cNvSpPr/>
          <p:nvPr/>
        </p:nvSpPr>
        <p:spPr>
          <a:xfrm>
            <a:off x="3795300" y="4799575"/>
            <a:ext cx="1145894" cy="1145894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Nexa Bold" panose="02000000000000000000" pitchFamily="50" charset="0"/>
              </a:rPr>
              <a:t>#7F7F7F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C8833BD-DCF2-0F3C-E98E-18852420FA82}"/>
              </a:ext>
            </a:extLst>
          </p:cNvPr>
          <p:cNvSpPr/>
          <p:nvPr/>
        </p:nvSpPr>
        <p:spPr>
          <a:xfrm>
            <a:off x="5032594" y="4799575"/>
            <a:ext cx="1145894" cy="1145894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Nexa Bold" panose="02000000000000000000" pitchFamily="50" charset="0"/>
              </a:rPr>
              <a:t>#F2F2F2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5913301-9C58-1956-54D4-BD2D9E397E14}"/>
              </a:ext>
            </a:extLst>
          </p:cNvPr>
          <p:cNvSpPr/>
          <p:nvPr/>
        </p:nvSpPr>
        <p:spPr>
          <a:xfrm>
            <a:off x="4941193" y="3438436"/>
            <a:ext cx="6907905" cy="1145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sx="102000" sy="102000" algn="ctr" rotWithShape="0">
              <a:schemeClr val="tx1">
                <a:alpha val="16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7AEA7F5-1A40-5A3E-8211-4B666D174019}"/>
              </a:ext>
            </a:extLst>
          </p:cNvPr>
          <p:cNvSpPr/>
          <p:nvPr/>
        </p:nvSpPr>
        <p:spPr>
          <a:xfrm>
            <a:off x="3703899" y="2077298"/>
            <a:ext cx="8145200" cy="1145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sx="102000" sy="102000" algn="ctr" rotWithShape="0">
              <a:schemeClr val="tx1">
                <a:alpha val="16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3AF8045-F145-90EE-9CCC-755DD2116621}"/>
              </a:ext>
            </a:extLst>
          </p:cNvPr>
          <p:cNvSpPr/>
          <p:nvPr/>
        </p:nvSpPr>
        <p:spPr>
          <a:xfrm>
            <a:off x="6178488" y="4799574"/>
            <a:ext cx="5670610" cy="1145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sx="102000" sy="102000" algn="ctr" rotWithShape="0">
              <a:schemeClr val="tx1">
                <a:alpha val="16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itle 5">
            <a:extLst>
              <a:ext uri="{FF2B5EF4-FFF2-40B4-BE49-F238E27FC236}">
                <a16:creationId xmlns:a16="http://schemas.microsoft.com/office/drawing/2014/main" id="{04E93B03-17C9-3886-351A-376CC42C3517}"/>
              </a:ext>
            </a:extLst>
          </p:cNvPr>
          <p:cNvSpPr txBox="1">
            <a:spLocks/>
          </p:cNvSpPr>
          <p:nvPr/>
        </p:nvSpPr>
        <p:spPr>
          <a:xfrm>
            <a:off x="4083467" y="2479429"/>
            <a:ext cx="7407493" cy="3416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algn="l" rtl="0"/>
            <a:r>
              <a:rPr lang="en-US" dirty="0">
                <a:latin typeface="Nexa Light" panose="02000000000000000000" pitchFamily="50" charset="0"/>
              </a:rPr>
              <a:t>Main Color</a:t>
            </a:r>
            <a:endParaRPr lang="en-US" sz="2000" dirty="0">
              <a:latin typeface="Nexa Light" panose="02000000000000000000" pitchFamily="50" charset="0"/>
            </a:endParaRPr>
          </a:p>
        </p:txBody>
      </p:sp>
      <p:sp>
        <p:nvSpPr>
          <p:cNvPr id="37" name="Title 5">
            <a:extLst>
              <a:ext uri="{FF2B5EF4-FFF2-40B4-BE49-F238E27FC236}">
                <a16:creationId xmlns:a16="http://schemas.microsoft.com/office/drawing/2014/main" id="{8845AD55-D42B-F145-CD6B-61708756E373}"/>
              </a:ext>
            </a:extLst>
          </p:cNvPr>
          <p:cNvSpPr txBox="1">
            <a:spLocks/>
          </p:cNvSpPr>
          <p:nvPr/>
        </p:nvSpPr>
        <p:spPr>
          <a:xfrm>
            <a:off x="5344160" y="3840567"/>
            <a:ext cx="6146800" cy="3416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algn="l" rtl="0"/>
            <a:r>
              <a:rPr lang="en-US" dirty="0">
                <a:latin typeface="Nexa Light" panose="02000000000000000000" pitchFamily="50" charset="0"/>
              </a:rPr>
              <a:t>Secondary Color</a:t>
            </a:r>
            <a:endParaRPr lang="en-US" sz="2000" dirty="0">
              <a:latin typeface="Nexa Light" panose="02000000000000000000" pitchFamily="50" charset="0"/>
            </a:endParaRPr>
          </a:p>
        </p:txBody>
      </p:sp>
      <p:sp>
        <p:nvSpPr>
          <p:cNvPr id="38" name="Title 5">
            <a:extLst>
              <a:ext uri="{FF2B5EF4-FFF2-40B4-BE49-F238E27FC236}">
                <a16:creationId xmlns:a16="http://schemas.microsoft.com/office/drawing/2014/main" id="{50E1146B-034E-1E2D-3B0C-879FB84035B1}"/>
              </a:ext>
            </a:extLst>
          </p:cNvPr>
          <p:cNvSpPr txBox="1">
            <a:spLocks/>
          </p:cNvSpPr>
          <p:nvPr/>
        </p:nvSpPr>
        <p:spPr>
          <a:xfrm>
            <a:off x="6624320" y="5201705"/>
            <a:ext cx="4866640" cy="3416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algn="l" rtl="0"/>
            <a:r>
              <a:rPr lang="en-US" dirty="0">
                <a:latin typeface="Nexa Light" panose="02000000000000000000" pitchFamily="50" charset="0"/>
              </a:rPr>
              <a:t>Neutral Color</a:t>
            </a:r>
            <a:endParaRPr lang="en-US" sz="2000" dirty="0">
              <a:latin typeface="Nexa Light" panose="02000000000000000000" pitchFamily="50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3982362-A62D-35F6-42FD-B8C321F8ECB2}"/>
              </a:ext>
            </a:extLst>
          </p:cNvPr>
          <p:cNvSpPr/>
          <p:nvPr/>
        </p:nvSpPr>
        <p:spPr>
          <a:xfrm>
            <a:off x="1082040" y="1544320"/>
            <a:ext cx="703580" cy="21082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7E81F56-E41D-E003-3AD5-F8B2EEC695AB}"/>
              </a:ext>
            </a:extLst>
          </p:cNvPr>
          <p:cNvSpPr/>
          <p:nvPr/>
        </p:nvSpPr>
        <p:spPr>
          <a:xfrm>
            <a:off x="546100" y="1544320"/>
            <a:ext cx="177800" cy="21082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F633150-AFD6-7391-269E-86BFADC9E8A3}"/>
              </a:ext>
            </a:extLst>
          </p:cNvPr>
          <p:cNvSpPr/>
          <p:nvPr/>
        </p:nvSpPr>
        <p:spPr>
          <a:xfrm>
            <a:off x="368300" y="1828800"/>
            <a:ext cx="177800" cy="21082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7233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CADE93-A638-1CAC-4E35-A7988B996A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0931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19259679-FE3A-853A-FF13-8077825B8357}"/>
              </a:ext>
            </a:extLst>
          </p:cNvPr>
          <p:cNvSpPr/>
          <p:nvPr/>
        </p:nvSpPr>
        <p:spPr>
          <a:xfrm rot="5400000">
            <a:off x="9961977" y="2270943"/>
            <a:ext cx="114910" cy="6096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7B7EFB0-D2D2-6BF3-6F63-3638191B0D2D}"/>
              </a:ext>
            </a:extLst>
          </p:cNvPr>
          <p:cNvSpPr/>
          <p:nvPr/>
        </p:nvSpPr>
        <p:spPr>
          <a:xfrm>
            <a:off x="342901" y="1295400"/>
            <a:ext cx="5676519" cy="4850757"/>
          </a:xfrm>
          <a:prstGeom prst="roundRect">
            <a:avLst>
              <a:gd name="adj" fmla="val 5599"/>
            </a:avLst>
          </a:prstGeom>
          <a:solidFill>
            <a:schemeClr val="bg1"/>
          </a:solidFill>
          <a:ln>
            <a:noFill/>
          </a:ln>
          <a:effectLst>
            <a:outerShdw blurRad="203200" sx="102000" sy="102000" algn="ctr" rotWithShape="0">
              <a:schemeClr val="tx1">
                <a:alpha val="16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122375-FEB3-210E-CB47-EB3498146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350121"/>
            <a:ext cx="11506200" cy="683264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l" rtl="0"/>
            <a:r>
              <a:rPr lang="en-US" sz="4800" dirty="0">
                <a:solidFill>
                  <a:schemeClr val="tx2"/>
                </a:solidFill>
                <a:latin typeface="Nexa Bold" panose="02000000000000000000" pitchFamily="50" charset="0"/>
              </a:rPr>
              <a:t>Typograph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3614D5-14E7-6A09-48C4-D6E7A8E44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F5E4-35CF-4C29-B9F8-D683A03DA2A9}" type="slidenum">
              <a:rPr lang="id-ID" smtClean="0"/>
              <a:pPr/>
              <a:t>3</a:t>
            </a:fld>
            <a:endParaRPr lang="id-ID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56A2DDF-8722-A999-8A51-33D2AAAE8889}"/>
              </a:ext>
            </a:extLst>
          </p:cNvPr>
          <p:cNvSpPr txBox="1">
            <a:spLocks/>
          </p:cNvSpPr>
          <p:nvPr/>
        </p:nvSpPr>
        <p:spPr>
          <a:xfrm>
            <a:off x="700069" y="1648119"/>
            <a:ext cx="4962183" cy="25622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algn="l" rtl="0"/>
            <a:r>
              <a:rPr lang="en-US" sz="1800" dirty="0">
                <a:latin typeface="Nexa Bold" panose="02000000000000000000" pitchFamily="50" charset="0"/>
              </a:rPr>
              <a:t>Alphabet Format</a:t>
            </a:r>
            <a:endParaRPr lang="en-US" sz="1600" dirty="0">
              <a:latin typeface="Nexa Bold" panose="02000000000000000000" pitchFamily="50" charset="0"/>
            </a:endParaRPr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3F2815AC-4F42-D0C5-64E6-0D1EFA4E70AC}"/>
              </a:ext>
            </a:extLst>
          </p:cNvPr>
          <p:cNvSpPr txBox="1">
            <a:spLocks/>
          </p:cNvSpPr>
          <p:nvPr/>
        </p:nvSpPr>
        <p:spPr>
          <a:xfrm>
            <a:off x="700069" y="2161000"/>
            <a:ext cx="4962183" cy="28469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algn="l" rtl="0"/>
            <a:r>
              <a:rPr lang="en-US" sz="2000" dirty="0">
                <a:latin typeface="Nexa Bold" panose="02000000000000000000" pitchFamily="50" charset="0"/>
              </a:rPr>
              <a:t>Slide Title using </a:t>
            </a:r>
            <a:r>
              <a:rPr lang="en-US" sz="2000" dirty="0" err="1">
                <a:latin typeface="Nexa Bold" panose="02000000000000000000" pitchFamily="50" charset="0"/>
              </a:rPr>
              <a:t>Nexa</a:t>
            </a:r>
            <a:r>
              <a:rPr lang="en-US" sz="2000" dirty="0">
                <a:latin typeface="Nexa Bold" panose="02000000000000000000" pitchFamily="50" charset="0"/>
              </a:rPr>
              <a:t> Bold 20pts</a:t>
            </a:r>
            <a:endParaRPr lang="en-US" sz="1800" dirty="0">
              <a:latin typeface="Nexa Bold" panose="02000000000000000000" pitchFamily="50" charset="0"/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2B263AC5-3D73-CAAF-455C-A43E24FEFBA1}"/>
              </a:ext>
            </a:extLst>
          </p:cNvPr>
          <p:cNvSpPr txBox="1">
            <a:spLocks/>
          </p:cNvSpPr>
          <p:nvPr/>
        </p:nvSpPr>
        <p:spPr>
          <a:xfrm>
            <a:off x="700069" y="2615141"/>
            <a:ext cx="4962183" cy="19928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algn="l" rtl="0"/>
            <a:r>
              <a:rPr lang="en-US" sz="1400" dirty="0">
                <a:latin typeface="Nexa Light" panose="02000000000000000000" pitchFamily="50" charset="0"/>
              </a:rPr>
              <a:t>Subtitle using </a:t>
            </a:r>
            <a:r>
              <a:rPr lang="en-US" sz="1400" dirty="0" err="1">
                <a:latin typeface="Nexa Light" panose="02000000000000000000" pitchFamily="50" charset="0"/>
              </a:rPr>
              <a:t>Nexa</a:t>
            </a:r>
            <a:r>
              <a:rPr lang="en-US" sz="1400" dirty="0">
                <a:latin typeface="Nexa Light" panose="02000000000000000000" pitchFamily="50" charset="0"/>
              </a:rPr>
              <a:t> Light 14pts</a:t>
            </a:r>
            <a:endParaRPr lang="en-US" sz="1200" dirty="0">
              <a:latin typeface="Nexa Light" panose="02000000000000000000" pitchFamily="50" charset="0"/>
            </a:endParaRPr>
          </a:p>
        </p:txBody>
      </p:sp>
      <p:sp>
        <p:nvSpPr>
          <p:cNvPr id="15" name="Title 5">
            <a:extLst>
              <a:ext uri="{FF2B5EF4-FFF2-40B4-BE49-F238E27FC236}">
                <a16:creationId xmlns:a16="http://schemas.microsoft.com/office/drawing/2014/main" id="{A89C50C4-424A-FA77-5772-4CC5E0701834}"/>
              </a:ext>
            </a:extLst>
          </p:cNvPr>
          <p:cNvSpPr txBox="1">
            <a:spLocks/>
          </p:cNvSpPr>
          <p:nvPr/>
        </p:nvSpPr>
        <p:spPr>
          <a:xfrm>
            <a:off x="700069" y="3225871"/>
            <a:ext cx="4962183" cy="22775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algn="l" rtl="0"/>
            <a:r>
              <a:rPr lang="en-US" sz="1600" dirty="0">
                <a:latin typeface="Nexa Bold" panose="02000000000000000000" pitchFamily="50" charset="0"/>
              </a:rPr>
              <a:t>Heading using </a:t>
            </a:r>
            <a:r>
              <a:rPr lang="en-US" sz="1600" dirty="0" err="1">
                <a:latin typeface="Nexa Bold" panose="02000000000000000000" pitchFamily="50" charset="0"/>
              </a:rPr>
              <a:t>Nexa</a:t>
            </a:r>
            <a:r>
              <a:rPr lang="en-US" sz="1600" dirty="0">
                <a:latin typeface="Nexa Bold" panose="02000000000000000000" pitchFamily="50" charset="0"/>
              </a:rPr>
              <a:t> Bold 16pts</a:t>
            </a:r>
            <a:endParaRPr lang="en-US" sz="1400" dirty="0">
              <a:latin typeface="Nexa Bold" panose="02000000000000000000" pitchFamily="50" charset="0"/>
            </a:endParaRP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0B7C0CFE-36E5-3C48-1D93-B58E70B94A90}"/>
              </a:ext>
            </a:extLst>
          </p:cNvPr>
          <p:cNvSpPr txBox="1">
            <a:spLocks/>
          </p:cNvSpPr>
          <p:nvPr/>
        </p:nvSpPr>
        <p:spPr>
          <a:xfrm>
            <a:off x="700069" y="3561902"/>
            <a:ext cx="4962183" cy="19928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algn="l" rtl="0"/>
            <a:r>
              <a:rPr lang="en-US" sz="1400" dirty="0">
                <a:latin typeface="Nexa Light" panose="02000000000000000000" pitchFamily="50" charset="0"/>
              </a:rPr>
              <a:t>All content using </a:t>
            </a:r>
            <a:r>
              <a:rPr lang="en-US" sz="1400" dirty="0" err="1">
                <a:latin typeface="Nexa Light" panose="02000000000000000000" pitchFamily="50" charset="0"/>
              </a:rPr>
              <a:t>Nexa</a:t>
            </a:r>
            <a:r>
              <a:rPr lang="en-US" sz="1400" dirty="0">
                <a:latin typeface="Nexa Light" panose="02000000000000000000" pitchFamily="50" charset="0"/>
              </a:rPr>
              <a:t> Light 14pts</a:t>
            </a:r>
            <a:endParaRPr lang="en-US" sz="1200" dirty="0">
              <a:latin typeface="Nexa Light" panose="02000000000000000000" pitchFamily="50" charset="0"/>
            </a:endParaRPr>
          </a:p>
        </p:txBody>
      </p:sp>
      <p:sp>
        <p:nvSpPr>
          <p:cNvPr id="17" name="Title 5">
            <a:extLst>
              <a:ext uri="{FF2B5EF4-FFF2-40B4-BE49-F238E27FC236}">
                <a16:creationId xmlns:a16="http://schemas.microsoft.com/office/drawing/2014/main" id="{849C9C34-2F77-C3E7-8851-1B89A19C10AF}"/>
              </a:ext>
            </a:extLst>
          </p:cNvPr>
          <p:cNvSpPr txBox="1">
            <a:spLocks/>
          </p:cNvSpPr>
          <p:nvPr/>
        </p:nvSpPr>
        <p:spPr>
          <a:xfrm>
            <a:off x="700069" y="3848946"/>
            <a:ext cx="4962183" cy="97488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1400" dirty="0">
                <a:latin typeface="Nexa Light" panose="02000000000000000000" pitchFamily="50" charset="0"/>
              </a:rPr>
              <a:t>Bullet point format using this setting. Just simply use format painter from this text box.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1400" dirty="0">
                <a:latin typeface="Nexa Light" panose="02000000000000000000" pitchFamily="50" charset="0"/>
              </a:rPr>
              <a:t>…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1400" dirty="0">
                <a:latin typeface="Nexa Light" panose="02000000000000000000" pitchFamily="50" charset="0"/>
              </a:rPr>
              <a:t>…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1400" dirty="0">
                <a:latin typeface="Nexa Light" panose="02000000000000000000" pitchFamily="50" charset="0"/>
              </a:rPr>
              <a:t>…</a:t>
            </a:r>
            <a:endParaRPr lang="en-US" sz="1200" dirty="0">
              <a:latin typeface="Nexa Light" panose="02000000000000000000" pitchFamily="50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594E170-3A90-1CC7-577B-100D2C0A7286}"/>
              </a:ext>
            </a:extLst>
          </p:cNvPr>
          <p:cNvCxnSpPr>
            <a:cxnSpLocks/>
          </p:cNvCxnSpPr>
          <p:nvPr/>
        </p:nvCxnSpPr>
        <p:spPr>
          <a:xfrm>
            <a:off x="666560" y="2999419"/>
            <a:ext cx="5029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BCF6AAB-EBD0-96A2-5F2F-4A1FD9B497B9}"/>
              </a:ext>
            </a:extLst>
          </p:cNvPr>
          <p:cNvSpPr/>
          <p:nvPr/>
        </p:nvSpPr>
        <p:spPr>
          <a:xfrm>
            <a:off x="6172581" y="1295400"/>
            <a:ext cx="3816371" cy="4850757"/>
          </a:xfrm>
          <a:prstGeom prst="roundRect">
            <a:avLst>
              <a:gd name="adj" fmla="val 5599"/>
            </a:avLst>
          </a:prstGeom>
          <a:solidFill>
            <a:schemeClr val="bg1"/>
          </a:solidFill>
          <a:ln>
            <a:noFill/>
          </a:ln>
          <a:effectLst>
            <a:outerShdw blurRad="203200" sx="102000" sy="102000" algn="ctr" rotWithShape="0">
              <a:schemeClr val="tx1">
                <a:alpha val="16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598426A8-6F98-D0BB-B951-A5B15383ED53}"/>
              </a:ext>
            </a:extLst>
          </p:cNvPr>
          <p:cNvSpPr txBox="1">
            <a:spLocks/>
          </p:cNvSpPr>
          <p:nvPr/>
        </p:nvSpPr>
        <p:spPr>
          <a:xfrm>
            <a:off x="6452474" y="1648119"/>
            <a:ext cx="3256585" cy="25622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rtl="0"/>
            <a:r>
              <a:rPr lang="en-US" sz="1800" dirty="0">
                <a:latin typeface="Nexa Bold" panose="02000000000000000000" pitchFamily="50" charset="0"/>
              </a:rPr>
              <a:t>Arabic Format</a:t>
            </a:r>
            <a:endParaRPr lang="en-US" sz="1600" dirty="0">
              <a:latin typeface="Nexa Bold" panose="02000000000000000000" pitchFamily="50" charset="0"/>
            </a:endParaRPr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2B9E45CF-6FA9-6ECC-5E50-2C9E01CF43B3}"/>
              </a:ext>
            </a:extLst>
          </p:cNvPr>
          <p:cNvSpPr txBox="1">
            <a:spLocks/>
          </p:cNvSpPr>
          <p:nvPr/>
        </p:nvSpPr>
        <p:spPr>
          <a:xfrm>
            <a:off x="6452474" y="2161000"/>
            <a:ext cx="3256585" cy="28469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rtl="0"/>
            <a:r>
              <a:rPr lang="ar-SA" sz="2000" dirty="0"/>
              <a:t>عناصر مكاتب</a:t>
            </a:r>
          </a:p>
        </p:txBody>
      </p:sp>
      <p:sp>
        <p:nvSpPr>
          <p:cNvPr id="26" name="Title 5">
            <a:extLst>
              <a:ext uri="{FF2B5EF4-FFF2-40B4-BE49-F238E27FC236}">
                <a16:creationId xmlns:a16="http://schemas.microsoft.com/office/drawing/2014/main" id="{C61ECF88-D8E7-7693-060B-5B6CDACAA6E4}"/>
              </a:ext>
            </a:extLst>
          </p:cNvPr>
          <p:cNvSpPr txBox="1">
            <a:spLocks/>
          </p:cNvSpPr>
          <p:nvPr/>
        </p:nvSpPr>
        <p:spPr>
          <a:xfrm>
            <a:off x="6452474" y="2615141"/>
            <a:ext cx="3256585" cy="19928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rtl="0"/>
            <a:r>
              <a:rPr lang="ar-SA" sz="1400" dirty="0">
                <a:latin typeface="HelveticaNeueLT Arabic 45 Light" panose="020B0403020202020204" pitchFamily="34" charset="-78"/>
                <a:cs typeface="HelveticaNeueLT Arabic 45 Light" panose="020B0403020202020204" pitchFamily="34" charset="-78"/>
              </a:rPr>
              <a:t>عناصر مكاتب تحقيق الرؤية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86ED202-1B40-F7BF-F4F7-FEA4B88562A5}"/>
              </a:ext>
            </a:extLst>
          </p:cNvPr>
          <p:cNvCxnSpPr>
            <a:cxnSpLocks/>
          </p:cNvCxnSpPr>
          <p:nvPr/>
        </p:nvCxnSpPr>
        <p:spPr>
          <a:xfrm>
            <a:off x="6452474" y="2999419"/>
            <a:ext cx="541034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5">
            <a:extLst>
              <a:ext uri="{FF2B5EF4-FFF2-40B4-BE49-F238E27FC236}">
                <a16:creationId xmlns:a16="http://schemas.microsoft.com/office/drawing/2014/main" id="{FF1A8ADA-81FE-A68A-1369-0FEEAC902758}"/>
              </a:ext>
            </a:extLst>
          </p:cNvPr>
          <p:cNvSpPr txBox="1">
            <a:spLocks/>
          </p:cNvSpPr>
          <p:nvPr/>
        </p:nvSpPr>
        <p:spPr>
          <a:xfrm>
            <a:off x="10281920" y="2161000"/>
            <a:ext cx="1567180" cy="28084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algn="l" rtl="0"/>
            <a:r>
              <a:rPr lang="en-US" sz="1000" dirty="0" err="1">
                <a:latin typeface="Nexa Bold" panose="02000000000000000000" pitchFamily="50" charset="0"/>
              </a:rPr>
              <a:t>HelveticaNeueLT</a:t>
            </a:r>
            <a:r>
              <a:rPr lang="en-US" sz="1000" dirty="0">
                <a:latin typeface="Nexa Bold" panose="02000000000000000000" pitchFamily="50" charset="0"/>
              </a:rPr>
              <a:t> Arabic 75 Bold, 20pts</a:t>
            </a:r>
          </a:p>
        </p:txBody>
      </p:sp>
      <p:sp>
        <p:nvSpPr>
          <p:cNvPr id="34" name="Title 5">
            <a:extLst>
              <a:ext uri="{FF2B5EF4-FFF2-40B4-BE49-F238E27FC236}">
                <a16:creationId xmlns:a16="http://schemas.microsoft.com/office/drawing/2014/main" id="{20E5917C-197A-B9F9-7046-303BFB8BB231}"/>
              </a:ext>
            </a:extLst>
          </p:cNvPr>
          <p:cNvSpPr txBox="1">
            <a:spLocks/>
          </p:cNvSpPr>
          <p:nvPr/>
        </p:nvSpPr>
        <p:spPr>
          <a:xfrm>
            <a:off x="10281920" y="2574360"/>
            <a:ext cx="1567180" cy="28084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algn="l" rtl="0"/>
            <a:r>
              <a:rPr lang="en-US" sz="1000" dirty="0" err="1">
                <a:latin typeface="Nexa Light" panose="02000000000000000000" pitchFamily="50" charset="0"/>
              </a:rPr>
              <a:t>HelveticaNeueLT</a:t>
            </a:r>
            <a:r>
              <a:rPr lang="en-US" sz="1000" dirty="0">
                <a:latin typeface="Nexa Light" panose="02000000000000000000" pitchFamily="50" charset="0"/>
              </a:rPr>
              <a:t> Arabic 45 Light, 14pts</a:t>
            </a:r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C9ABFF55-0973-B2F4-6BFC-6FC75145485A}"/>
              </a:ext>
            </a:extLst>
          </p:cNvPr>
          <p:cNvSpPr/>
          <p:nvPr/>
        </p:nvSpPr>
        <p:spPr>
          <a:xfrm rot="5400000">
            <a:off x="9961977" y="2684303"/>
            <a:ext cx="114910" cy="6096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itle 5">
            <a:extLst>
              <a:ext uri="{FF2B5EF4-FFF2-40B4-BE49-F238E27FC236}">
                <a16:creationId xmlns:a16="http://schemas.microsoft.com/office/drawing/2014/main" id="{81DAC040-603D-1B6B-33DC-DD54B131E987}"/>
              </a:ext>
            </a:extLst>
          </p:cNvPr>
          <p:cNvSpPr txBox="1">
            <a:spLocks/>
          </p:cNvSpPr>
          <p:nvPr/>
        </p:nvSpPr>
        <p:spPr>
          <a:xfrm>
            <a:off x="6452474" y="3196447"/>
            <a:ext cx="3256585" cy="22775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rtl="0"/>
            <a:r>
              <a:rPr lang="ar-SA" sz="1600" dirty="0">
                <a:latin typeface="Nexa Bold" panose="02000000000000000000" pitchFamily="50" charset="0"/>
              </a:rPr>
              <a:t>عناصر مكاتب</a:t>
            </a:r>
          </a:p>
        </p:txBody>
      </p:sp>
      <p:sp>
        <p:nvSpPr>
          <p:cNvPr id="38" name="Title 5">
            <a:extLst>
              <a:ext uri="{FF2B5EF4-FFF2-40B4-BE49-F238E27FC236}">
                <a16:creationId xmlns:a16="http://schemas.microsoft.com/office/drawing/2014/main" id="{72180DA1-643D-6CB6-77E7-780F90C86CF2}"/>
              </a:ext>
            </a:extLst>
          </p:cNvPr>
          <p:cNvSpPr txBox="1">
            <a:spLocks/>
          </p:cNvSpPr>
          <p:nvPr/>
        </p:nvSpPr>
        <p:spPr>
          <a:xfrm>
            <a:off x="6452474" y="3578248"/>
            <a:ext cx="3256585" cy="17081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rtl="0"/>
            <a:r>
              <a:rPr lang="ar-SA" sz="1200" dirty="0">
                <a:latin typeface="HelveticaNeueLT Arabic 45 Light" panose="020B0403020202020204" pitchFamily="34" charset="-78"/>
                <a:cs typeface="HelveticaNeueLT Arabic 45 Light" panose="020B0403020202020204" pitchFamily="34" charset="-78"/>
              </a:rPr>
              <a:t>عناصر مكاتب تحقيق الرؤية</a:t>
            </a:r>
          </a:p>
        </p:txBody>
      </p:sp>
      <p:sp>
        <p:nvSpPr>
          <p:cNvPr id="39" name="Isosceles Triangle 38">
            <a:extLst>
              <a:ext uri="{FF2B5EF4-FFF2-40B4-BE49-F238E27FC236}">
                <a16:creationId xmlns:a16="http://schemas.microsoft.com/office/drawing/2014/main" id="{869E8AFC-C860-2B3A-74D1-5A86322EA053}"/>
              </a:ext>
            </a:extLst>
          </p:cNvPr>
          <p:cNvSpPr/>
          <p:nvPr/>
        </p:nvSpPr>
        <p:spPr>
          <a:xfrm rot="5400000">
            <a:off x="9961977" y="3279844"/>
            <a:ext cx="114910" cy="6096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itle 5">
            <a:extLst>
              <a:ext uri="{FF2B5EF4-FFF2-40B4-BE49-F238E27FC236}">
                <a16:creationId xmlns:a16="http://schemas.microsoft.com/office/drawing/2014/main" id="{EAFDB1E8-F68A-3FB6-7A7B-F7B1EFA23743}"/>
              </a:ext>
            </a:extLst>
          </p:cNvPr>
          <p:cNvSpPr txBox="1">
            <a:spLocks/>
          </p:cNvSpPr>
          <p:nvPr/>
        </p:nvSpPr>
        <p:spPr>
          <a:xfrm>
            <a:off x="10281920" y="3169901"/>
            <a:ext cx="1567180" cy="28084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algn="l" rtl="0"/>
            <a:r>
              <a:rPr lang="en-US" sz="1000" dirty="0" err="1">
                <a:latin typeface="Nexa Bold" panose="02000000000000000000" pitchFamily="50" charset="0"/>
              </a:rPr>
              <a:t>HelveticaNeueLT</a:t>
            </a:r>
            <a:r>
              <a:rPr lang="en-US" sz="1000" dirty="0">
                <a:latin typeface="Nexa Bold" panose="02000000000000000000" pitchFamily="50" charset="0"/>
              </a:rPr>
              <a:t> Arabic 75 Bold, 16pts</a:t>
            </a:r>
          </a:p>
        </p:txBody>
      </p:sp>
      <p:sp>
        <p:nvSpPr>
          <p:cNvPr id="41" name="Title 5">
            <a:extLst>
              <a:ext uri="{FF2B5EF4-FFF2-40B4-BE49-F238E27FC236}">
                <a16:creationId xmlns:a16="http://schemas.microsoft.com/office/drawing/2014/main" id="{091BF455-9E77-21DA-F7F3-591AD4795EBA}"/>
              </a:ext>
            </a:extLst>
          </p:cNvPr>
          <p:cNvSpPr txBox="1">
            <a:spLocks/>
          </p:cNvSpPr>
          <p:nvPr/>
        </p:nvSpPr>
        <p:spPr>
          <a:xfrm>
            <a:off x="10281920" y="3523233"/>
            <a:ext cx="1567180" cy="28084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algn="l" rtl="0"/>
            <a:r>
              <a:rPr lang="en-US" sz="1000" dirty="0" err="1">
                <a:latin typeface="Nexa Light" panose="02000000000000000000" pitchFamily="50" charset="0"/>
              </a:rPr>
              <a:t>HelveticaNeueLT</a:t>
            </a:r>
            <a:r>
              <a:rPr lang="en-US" sz="1000" dirty="0">
                <a:latin typeface="Nexa Light" panose="02000000000000000000" pitchFamily="50" charset="0"/>
              </a:rPr>
              <a:t> Arabic 45 Light, 12pts</a:t>
            </a:r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C63B2E57-12A3-011E-6AF3-8BA84120CC50}"/>
              </a:ext>
            </a:extLst>
          </p:cNvPr>
          <p:cNvSpPr/>
          <p:nvPr/>
        </p:nvSpPr>
        <p:spPr>
          <a:xfrm rot="5400000">
            <a:off x="9961977" y="3633176"/>
            <a:ext cx="114910" cy="6096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5">
            <a:extLst>
              <a:ext uri="{FF2B5EF4-FFF2-40B4-BE49-F238E27FC236}">
                <a16:creationId xmlns:a16="http://schemas.microsoft.com/office/drawing/2014/main" id="{861D76C8-1420-9C08-708A-F665D9A494B2}"/>
              </a:ext>
            </a:extLst>
          </p:cNvPr>
          <p:cNvSpPr txBox="1">
            <a:spLocks/>
          </p:cNvSpPr>
          <p:nvPr/>
        </p:nvSpPr>
        <p:spPr>
          <a:xfrm>
            <a:off x="6452474" y="3848946"/>
            <a:ext cx="3256585" cy="66941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marL="285750" indent="-285750" algn="r">
              <a:buFont typeface="Arial" panose="020B0604020202020204" pitchFamily="34" charset="0"/>
              <a:buChar char="•"/>
            </a:pPr>
            <a:r>
              <a:rPr lang="ar-SA" sz="1200" dirty="0">
                <a:latin typeface="HelveticaNeueLT Arabic 45 Light" panose="020B0403020202020204" pitchFamily="34" charset="-78"/>
                <a:cs typeface="HelveticaNeueLT Arabic 45 Light" panose="020B0403020202020204" pitchFamily="34" charset="-78"/>
              </a:rPr>
              <a:t>عناصر مكاتب تحقيق الرؤية</a:t>
            </a:r>
            <a:endParaRPr lang="en-US" sz="1200" dirty="0">
              <a:latin typeface="HelveticaNeueLT Arabic 45 Light" panose="020B0403020202020204" pitchFamily="34" charset="-78"/>
              <a:cs typeface="HelveticaNeueLT Arabic 45 Light" panose="020B0403020202020204" pitchFamily="34" charset="-78"/>
            </a:endParaRPr>
          </a:p>
          <a:p>
            <a:pPr marL="285750" indent="-285750" algn="r">
              <a:buFont typeface="Arial" panose="020B0604020202020204" pitchFamily="34" charset="0"/>
              <a:buChar char="•"/>
            </a:pPr>
            <a:r>
              <a:rPr lang="en-US" sz="1200" dirty="0">
                <a:latin typeface="HelveticaNeueLT Arabic 45 Light" panose="020B0403020202020204" pitchFamily="34" charset="-78"/>
                <a:cs typeface="HelveticaNeueLT Arabic 45 Light" panose="020B0403020202020204" pitchFamily="34" charset="-78"/>
              </a:rPr>
              <a:t>...</a:t>
            </a:r>
          </a:p>
          <a:p>
            <a:pPr marL="285750" indent="-285750" algn="r">
              <a:buFont typeface="Arial" panose="020B0604020202020204" pitchFamily="34" charset="0"/>
              <a:buChar char="•"/>
            </a:pPr>
            <a:r>
              <a:rPr lang="en-US" sz="1200" dirty="0">
                <a:latin typeface="HelveticaNeueLT Arabic 45 Light" panose="020B0403020202020204" pitchFamily="34" charset="-78"/>
                <a:cs typeface="HelveticaNeueLT Arabic 45 Light" panose="020B0403020202020204" pitchFamily="34" charset="-78"/>
              </a:rPr>
              <a:t>...</a:t>
            </a:r>
          </a:p>
          <a:p>
            <a:pPr marL="285750" indent="-285750" algn="r">
              <a:buFont typeface="Arial" panose="020B0604020202020204" pitchFamily="34" charset="0"/>
              <a:buChar char="•"/>
            </a:pPr>
            <a:r>
              <a:rPr lang="en-US" sz="1200" dirty="0">
                <a:latin typeface="HelveticaNeueLT Arabic 45 Light" panose="020B0403020202020204" pitchFamily="34" charset="-78"/>
                <a:cs typeface="HelveticaNeueLT Arabic 45 Light" panose="020B0403020202020204" pitchFamily="34" charset="-78"/>
              </a:rPr>
              <a:t>...</a:t>
            </a:r>
            <a:endParaRPr lang="ar-SA" sz="1200" dirty="0">
              <a:latin typeface="HelveticaNeueLT Arabic 45 Light" panose="020B0403020202020204" pitchFamily="34" charset="-78"/>
              <a:cs typeface="HelveticaNeueLT Arabic 45 Light" panose="020B0403020202020204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7356686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CADE93-A638-1CAC-4E35-A7988B996A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8231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CADE93-A638-1CAC-4E35-A7988B996A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: Top Corners Rounded 23">
            <a:extLst>
              <a:ext uri="{FF2B5EF4-FFF2-40B4-BE49-F238E27FC236}">
                <a16:creationId xmlns:a16="http://schemas.microsoft.com/office/drawing/2014/main" id="{548CC6B6-6321-64B9-58E3-F185805B8C80}"/>
              </a:ext>
            </a:extLst>
          </p:cNvPr>
          <p:cNvSpPr/>
          <p:nvPr/>
        </p:nvSpPr>
        <p:spPr>
          <a:xfrm rot="10800000">
            <a:off x="6181750" y="4530646"/>
            <a:ext cx="5667350" cy="1301194"/>
          </a:xfrm>
          <a:prstGeom prst="round2Same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: Top Corners Rounded 22">
            <a:extLst>
              <a:ext uri="{FF2B5EF4-FFF2-40B4-BE49-F238E27FC236}">
                <a16:creationId xmlns:a16="http://schemas.microsoft.com/office/drawing/2014/main" id="{0BB64AD2-E5CD-F67B-F32C-B950DDA7C3F4}"/>
              </a:ext>
            </a:extLst>
          </p:cNvPr>
          <p:cNvSpPr/>
          <p:nvPr/>
        </p:nvSpPr>
        <p:spPr>
          <a:xfrm rot="10800000">
            <a:off x="342902" y="4530646"/>
            <a:ext cx="5667350" cy="1301194"/>
          </a:xfrm>
          <a:prstGeom prst="round2Same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122375-FEB3-210E-CB47-EB3498146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350121"/>
            <a:ext cx="11506200" cy="683264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l" rtl="0"/>
            <a:r>
              <a:rPr lang="en-US" sz="4800" dirty="0">
                <a:solidFill>
                  <a:schemeClr val="tx2"/>
                </a:solidFill>
                <a:latin typeface="Nexa Bold" panose="02000000000000000000" pitchFamily="50" charset="0"/>
              </a:rPr>
              <a:t>Additional Typograph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3614D5-14E7-6A09-48C4-D6E7A8E44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F5E4-35CF-4C29-B9F8-D683A03DA2A9}" type="slidenum">
              <a:rPr lang="id-ID" smtClean="0"/>
              <a:pPr/>
              <a:t>4</a:t>
            </a:fld>
            <a:endParaRPr lang="id-ID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E9DABED-BC14-AF37-4F12-697AFA06A1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2901" y="1344053"/>
            <a:ext cx="5667350" cy="318659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sx="102000" sy="102000" algn="ctr" rotWithShape="0">
              <a:schemeClr val="tx1">
                <a:alpha val="16000"/>
              </a:scheme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ECF7E62-AF13-F18D-D453-D41DE364C7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81749" y="1344053"/>
            <a:ext cx="5667351" cy="318659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sx="102000" sy="102000" algn="ctr" rotWithShape="0">
              <a:schemeClr val="tx1">
                <a:alpha val="16000"/>
              </a:schemeClr>
            </a:outerShdw>
          </a:effectLst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E9A03B97-A327-5616-51D4-EBD8ED5C819B}"/>
              </a:ext>
            </a:extLst>
          </p:cNvPr>
          <p:cNvGrpSpPr/>
          <p:nvPr/>
        </p:nvGrpSpPr>
        <p:grpSpPr>
          <a:xfrm>
            <a:off x="695485" y="5258458"/>
            <a:ext cx="10801032" cy="393185"/>
            <a:chOff x="695485" y="5431178"/>
            <a:chExt cx="10801032" cy="393185"/>
          </a:xfrm>
        </p:grpSpPr>
        <p:sp>
          <p:nvSpPr>
            <p:cNvPr id="27" name="Title 5">
              <a:extLst>
                <a:ext uri="{FF2B5EF4-FFF2-40B4-BE49-F238E27FC236}">
                  <a16:creationId xmlns:a16="http://schemas.microsoft.com/office/drawing/2014/main" id="{0FD7CBBF-B7E4-F41C-0215-F5BF59923EF4}"/>
                </a:ext>
              </a:extLst>
            </p:cNvPr>
            <p:cNvSpPr txBox="1">
              <a:spLocks/>
            </p:cNvSpPr>
            <p:nvPr/>
          </p:nvSpPr>
          <p:spPr>
            <a:xfrm>
              <a:off x="695485" y="5431178"/>
              <a:ext cx="4962183" cy="39318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r" defTabSz="914400" rtl="1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kern="1200">
                  <a:solidFill>
                    <a:schemeClr val="tx1"/>
                  </a:solidFill>
                  <a:latin typeface="HelveticaNeueLT Arabic 75 Bold" panose="020B0804020202020204" pitchFamily="34" charset="-78"/>
                  <a:ea typeface="+mj-ea"/>
                  <a:cs typeface="HelveticaNeueLT Arabic 75 Bold" panose="020B0804020202020204" pitchFamily="34" charset="-78"/>
                </a:defRPr>
              </a:lvl1pPr>
            </a:lstStyle>
            <a:p>
              <a:pPr algn="ctr" rtl="0"/>
              <a:r>
                <a:rPr lang="en-US" sz="1400" dirty="0">
                  <a:latin typeface="Nexa Light" panose="02000000000000000000" pitchFamily="50" charset="0"/>
                </a:rPr>
                <a:t>Use </a:t>
              </a:r>
              <a:r>
                <a:rPr lang="en-US" sz="1400" dirty="0" err="1">
                  <a:latin typeface="Nexa Light" panose="02000000000000000000" pitchFamily="50" charset="0"/>
                </a:rPr>
                <a:t>Sakkal</a:t>
              </a:r>
              <a:r>
                <a:rPr lang="en-US" sz="1400" dirty="0">
                  <a:latin typeface="Nexa Light" panose="02000000000000000000" pitchFamily="50" charset="0"/>
                </a:rPr>
                <a:t> </a:t>
              </a:r>
              <a:r>
                <a:rPr lang="en-US" sz="1400" dirty="0" err="1">
                  <a:latin typeface="Nexa Light" panose="02000000000000000000" pitchFamily="50" charset="0"/>
                </a:rPr>
                <a:t>Majjala</a:t>
              </a:r>
              <a:r>
                <a:rPr lang="en-US" sz="1400" dirty="0">
                  <a:latin typeface="Nexa Light" panose="02000000000000000000" pitchFamily="50" charset="0"/>
                </a:rPr>
                <a:t> when you working on non-</a:t>
              </a:r>
              <a:r>
                <a:rPr lang="en-US" sz="1400" dirty="0" err="1">
                  <a:latin typeface="Nexa Light" panose="02000000000000000000" pitchFamily="50" charset="0"/>
                </a:rPr>
                <a:t>Kafaa</a:t>
              </a:r>
              <a:r>
                <a:rPr lang="en-US" sz="1400" dirty="0">
                  <a:latin typeface="Nexa Light" panose="02000000000000000000" pitchFamily="50" charset="0"/>
                </a:rPr>
                <a:t> Template (red template).</a:t>
              </a:r>
              <a:endParaRPr lang="en-US" sz="1200" dirty="0">
                <a:latin typeface="Nexa Light" panose="02000000000000000000" pitchFamily="50" charset="0"/>
              </a:endParaRPr>
            </a:p>
          </p:txBody>
        </p:sp>
        <p:sp>
          <p:nvSpPr>
            <p:cNvPr id="28" name="Title 5">
              <a:extLst>
                <a:ext uri="{FF2B5EF4-FFF2-40B4-BE49-F238E27FC236}">
                  <a16:creationId xmlns:a16="http://schemas.microsoft.com/office/drawing/2014/main" id="{5F6062A9-5DAC-FD0C-5F31-1A89ED8E0AB6}"/>
                </a:ext>
              </a:extLst>
            </p:cNvPr>
            <p:cNvSpPr txBox="1">
              <a:spLocks/>
            </p:cNvSpPr>
            <p:nvPr/>
          </p:nvSpPr>
          <p:spPr>
            <a:xfrm>
              <a:off x="6534334" y="5431178"/>
              <a:ext cx="4962183" cy="39318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r" defTabSz="914400" rtl="1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kern="1200">
                  <a:solidFill>
                    <a:schemeClr val="tx1"/>
                  </a:solidFill>
                  <a:latin typeface="HelveticaNeueLT Arabic 75 Bold" panose="020B0804020202020204" pitchFamily="34" charset="-78"/>
                  <a:ea typeface="+mj-ea"/>
                  <a:cs typeface="HelveticaNeueLT Arabic 75 Bold" panose="020B0804020202020204" pitchFamily="34" charset="-78"/>
                </a:defRPr>
              </a:lvl1pPr>
            </a:lstStyle>
            <a:p>
              <a:pPr algn="ctr" rtl="0"/>
              <a:r>
                <a:rPr lang="en-US" sz="1400" dirty="0">
                  <a:latin typeface="Nexa Light" panose="02000000000000000000" pitchFamily="50" charset="0"/>
                </a:rPr>
                <a:t>This purple template (Saudi Tourism Authority) specifically using this font.</a:t>
              </a:r>
              <a:endParaRPr lang="en-US" sz="1200" dirty="0">
                <a:latin typeface="Nexa Light" panose="02000000000000000000" pitchFamily="50" charset="0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7656616B-F8CD-6E2F-E366-71B86260B103}"/>
              </a:ext>
            </a:extLst>
          </p:cNvPr>
          <p:cNvGrpSpPr/>
          <p:nvPr/>
        </p:nvGrpSpPr>
        <p:grpSpPr>
          <a:xfrm>
            <a:off x="695485" y="4660612"/>
            <a:ext cx="10801032" cy="362415"/>
            <a:chOff x="695485" y="4762212"/>
            <a:chExt cx="10801032" cy="362415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9225008A-6144-8D2E-557F-D831C8BA2A67}"/>
                </a:ext>
              </a:extLst>
            </p:cNvPr>
            <p:cNvSpPr txBox="1">
              <a:spLocks/>
            </p:cNvSpPr>
            <p:nvPr/>
          </p:nvSpPr>
          <p:spPr>
            <a:xfrm>
              <a:off x="695485" y="4782995"/>
              <a:ext cx="4962183" cy="3416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algn="r" defTabSz="914400" rtl="1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kern="1200">
                  <a:solidFill>
                    <a:schemeClr val="tx1"/>
                  </a:solidFill>
                  <a:latin typeface="HelveticaNeueLT Arabic 75 Bold" panose="020B0804020202020204" pitchFamily="34" charset="-78"/>
                  <a:ea typeface="+mj-ea"/>
                  <a:cs typeface="HelveticaNeueLT Arabic 75 Bold" panose="020B0804020202020204" pitchFamily="34" charset="-78"/>
                </a:defRPr>
              </a:lvl1pPr>
            </a:lstStyle>
            <a:p>
              <a:pPr algn="ctr" rtl="0"/>
              <a:r>
                <a:rPr lang="en-US" dirty="0" err="1">
                  <a:latin typeface="Sakkal Majalla" panose="02000000000000000000" pitchFamily="2" charset="-78"/>
                  <a:cs typeface="Sakkal Majalla" panose="02000000000000000000" pitchFamily="2" charset="-78"/>
                </a:rPr>
                <a:t>Sakkal</a:t>
              </a:r>
              <a:r>
                <a:rPr lang="en-US" dirty="0">
                  <a:latin typeface="Sakkal Majalla" panose="02000000000000000000" pitchFamily="2" charset="-78"/>
                  <a:cs typeface="Sakkal Majalla" panose="02000000000000000000" pitchFamily="2" charset="-78"/>
                </a:rPr>
                <a:t> </a:t>
              </a:r>
              <a:r>
                <a:rPr lang="en-US" dirty="0" err="1">
                  <a:latin typeface="Sakkal Majalla" panose="02000000000000000000" pitchFamily="2" charset="-78"/>
                  <a:cs typeface="Sakkal Majalla" panose="02000000000000000000" pitchFamily="2" charset="-78"/>
                </a:rPr>
                <a:t>Majjala</a:t>
              </a:r>
              <a:endParaRPr lang="en-US" sz="2000" dirty="0"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32" name="Title 5">
              <a:extLst>
                <a:ext uri="{FF2B5EF4-FFF2-40B4-BE49-F238E27FC236}">
                  <a16:creationId xmlns:a16="http://schemas.microsoft.com/office/drawing/2014/main" id="{7D2D3F97-B1A1-6AD4-0EC3-5A9BEC35E7BC}"/>
                </a:ext>
              </a:extLst>
            </p:cNvPr>
            <p:cNvSpPr txBox="1">
              <a:spLocks/>
            </p:cNvSpPr>
            <p:nvPr/>
          </p:nvSpPr>
          <p:spPr>
            <a:xfrm>
              <a:off x="6534335" y="4782995"/>
              <a:ext cx="2030932" cy="3416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algn="r" defTabSz="914400" rtl="1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kern="1200">
                  <a:solidFill>
                    <a:schemeClr val="tx1"/>
                  </a:solidFill>
                  <a:latin typeface="HelveticaNeueLT Arabic 75 Bold" panose="020B0804020202020204" pitchFamily="34" charset="-78"/>
                  <a:ea typeface="+mj-ea"/>
                  <a:cs typeface="HelveticaNeueLT Arabic 75 Bold" panose="020B0804020202020204" pitchFamily="34" charset="-78"/>
                </a:defRPr>
              </a:lvl1pPr>
            </a:lstStyle>
            <a:p>
              <a:pPr algn="ctr" rtl="0"/>
              <a:r>
                <a:rPr lang="en-US" dirty="0">
                  <a:latin typeface="Displace 2.0" panose="00000500000000000000" pitchFamily="2" charset="0"/>
                  <a:cs typeface="Sakkal Majalla" panose="02000000000000000000" pitchFamily="2" charset="-78"/>
                </a:rPr>
                <a:t>Displace 2.0</a:t>
              </a:r>
              <a:endParaRPr lang="en-US" sz="2000" dirty="0">
                <a:latin typeface="Displace 2.0" panose="00000500000000000000" pitchFamily="2" charset="0"/>
                <a:cs typeface="Sakkal Majalla" panose="02000000000000000000" pitchFamily="2" charset="-78"/>
              </a:endParaRPr>
            </a:p>
          </p:txBody>
        </p:sp>
        <p:sp>
          <p:nvSpPr>
            <p:cNvPr id="44" name="Title 5">
              <a:extLst>
                <a:ext uri="{FF2B5EF4-FFF2-40B4-BE49-F238E27FC236}">
                  <a16:creationId xmlns:a16="http://schemas.microsoft.com/office/drawing/2014/main" id="{8728669E-4102-BEAD-F92D-5C7FE5962B54}"/>
                </a:ext>
              </a:extLst>
            </p:cNvPr>
            <p:cNvSpPr txBox="1">
              <a:spLocks/>
            </p:cNvSpPr>
            <p:nvPr/>
          </p:nvSpPr>
          <p:spPr>
            <a:xfrm>
              <a:off x="9465585" y="4762212"/>
              <a:ext cx="2030932" cy="33239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algn="r" defTabSz="914400" rtl="1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kern="1200">
                  <a:solidFill>
                    <a:schemeClr val="tx1"/>
                  </a:solidFill>
                  <a:latin typeface="HelveticaNeueLT Arabic 75 Bold" panose="020B0804020202020204" pitchFamily="34" charset="-78"/>
                  <a:ea typeface="+mj-ea"/>
                  <a:cs typeface="HelveticaNeueLT Arabic 75 Bold" panose="020B0804020202020204" pitchFamily="34" charset="-78"/>
                </a:defRPr>
              </a:lvl1pPr>
            </a:lstStyle>
            <a:p>
              <a:pPr algn="ctr" rtl="0"/>
              <a:r>
                <a:rPr lang="en-US" dirty="0">
                  <a:latin typeface="Gotham" panose="02000504050000020004" pitchFamily="2" charset="0"/>
                  <a:cs typeface="Sakkal Majalla" panose="02000000000000000000" pitchFamily="2" charset="-78"/>
                </a:rPr>
                <a:t>Gotham</a:t>
              </a:r>
              <a:endParaRPr lang="en-US" sz="2000" dirty="0">
                <a:latin typeface="Gotham" panose="02000504050000020004" pitchFamily="2" charset="0"/>
                <a:cs typeface="Sakkal Majalla" panose="02000000000000000000" pitchFamily="2" charset="-78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ED68FB1A-642B-4986-FE04-5B8195AFA1CD}"/>
              </a:ext>
            </a:extLst>
          </p:cNvPr>
          <p:cNvGrpSpPr/>
          <p:nvPr/>
        </p:nvGrpSpPr>
        <p:grpSpPr>
          <a:xfrm>
            <a:off x="666560" y="5125503"/>
            <a:ext cx="10863465" cy="0"/>
            <a:chOff x="666560" y="5199506"/>
            <a:chExt cx="10863465" cy="0"/>
          </a:xfrm>
        </p:grpSpPr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5D31F264-0EFD-3F6F-3564-AC1072262A39}"/>
                </a:ext>
              </a:extLst>
            </p:cNvPr>
            <p:cNvCxnSpPr>
              <a:cxnSpLocks/>
            </p:cNvCxnSpPr>
            <p:nvPr/>
          </p:nvCxnSpPr>
          <p:spPr>
            <a:xfrm>
              <a:off x="666560" y="5199506"/>
              <a:ext cx="50292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E5B32F38-FA5C-65AC-6C8B-0B6FC714CB4A}"/>
                </a:ext>
              </a:extLst>
            </p:cNvPr>
            <p:cNvCxnSpPr>
              <a:cxnSpLocks/>
            </p:cNvCxnSpPr>
            <p:nvPr/>
          </p:nvCxnSpPr>
          <p:spPr>
            <a:xfrm>
              <a:off x="6500825" y="5199506"/>
              <a:ext cx="50292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E958617C-9ED3-4791-3433-A08D971EF64B}"/>
              </a:ext>
            </a:extLst>
          </p:cNvPr>
          <p:cNvSpPr/>
          <p:nvPr/>
        </p:nvSpPr>
        <p:spPr>
          <a:xfrm>
            <a:off x="342901" y="5923280"/>
            <a:ext cx="11506198" cy="38919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Nexa Bold" panose="02000000000000000000" pitchFamily="50" charset="0"/>
              </a:rPr>
              <a:t>**Don’t worry, PM always provided </a:t>
            </a:r>
            <a:r>
              <a:rPr lang="en-US" sz="1200" dirty="0" err="1">
                <a:latin typeface="Nexa Bold" panose="02000000000000000000" pitchFamily="50" charset="0"/>
              </a:rPr>
              <a:t>prev</a:t>
            </a:r>
            <a:r>
              <a:rPr lang="en-US" sz="1200" dirty="0">
                <a:latin typeface="Nexa Bold" panose="02000000000000000000" pitchFamily="50" charset="0"/>
              </a:rPr>
              <a:t> order that include the font. So, just follow that choice.</a:t>
            </a:r>
          </a:p>
        </p:txBody>
      </p:sp>
    </p:spTree>
    <p:extLst>
      <p:ext uri="{BB962C8B-B14F-4D97-AF65-F5344CB8AC3E}">
        <p14:creationId xmlns:p14="http://schemas.microsoft.com/office/powerpoint/2010/main" val="24932375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CADE93-A638-1CAC-4E35-A7988B996A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962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CADE93-A638-1CAC-4E35-A7988B996A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122375-FEB3-210E-CB47-EB3498146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350121"/>
            <a:ext cx="11506200" cy="683264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l" rtl="0"/>
            <a:r>
              <a:rPr lang="en-US" sz="4800" dirty="0">
                <a:solidFill>
                  <a:schemeClr val="tx2"/>
                </a:solidFill>
                <a:latin typeface="Nexa Bold" panose="02000000000000000000" pitchFamily="50" charset="0"/>
              </a:rPr>
              <a:t>Shape and ic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3614D5-14E7-6A09-48C4-D6E7A8E44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F5E4-35CF-4C29-B9F8-D683A03DA2A9}" type="slidenum">
              <a:rPr lang="id-ID" smtClean="0"/>
              <a:pPr/>
              <a:t>5</a:t>
            </a:fld>
            <a:endParaRPr lang="id-ID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8F2E244-3465-6396-12E4-329346122150}"/>
              </a:ext>
            </a:extLst>
          </p:cNvPr>
          <p:cNvGrpSpPr/>
          <p:nvPr/>
        </p:nvGrpSpPr>
        <p:grpSpPr>
          <a:xfrm>
            <a:off x="342900" y="1462745"/>
            <a:ext cx="11849100" cy="4318590"/>
            <a:chOff x="342900" y="1072896"/>
            <a:chExt cx="11849100" cy="4318590"/>
          </a:xfrm>
        </p:grpSpPr>
        <p:sp>
          <p:nvSpPr>
            <p:cNvPr id="64" name="Rectangle: Single Corner Rounded 63">
              <a:extLst>
                <a:ext uri="{FF2B5EF4-FFF2-40B4-BE49-F238E27FC236}">
                  <a16:creationId xmlns:a16="http://schemas.microsoft.com/office/drawing/2014/main" id="{5903544C-C369-FBC1-6EC4-A4C68CF5400F}"/>
                </a:ext>
              </a:extLst>
            </p:cNvPr>
            <p:cNvSpPr/>
            <p:nvPr/>
          </p:nvSpPr>
          <p:spPr>
            <a:xfrm flipH="1">
              <a:off x="4455373" y="4155902"/>
              <a:ext cx="7736627" cy="1235584"/>
            </a:xfrm>
            <a:prstGeom prst="round1Rect">
              <a:avLst>
                <a:gd name="adj" fmla="val 4133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54412CD0-E87B-BBD4-9E31-87C00E4701C2}"/>
                </a:ext>
              </a:extLst>
            </p:cNvPr>
            <p:cNvSpPr/>
            <p:nvPr/>
          </p:nvSpPr>
          <p:spPr>
            <a:xfrm>
              <a:off x="342901" y="1497552"/>
              <a:ext cx="1235584" cy="1235584"/>
            </a:xfrm>
            <a:prstGeom prst="roundRect">
              <a:avLst>
                <a:gd name="adj" fmla="val 11249"/>
              </a:avLst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EFF435B-7A9A-7ADF-001D-5523AF9C0BD9}"/>
                </a:ext>
              </a:extLst>
            </p:cNvPr>
            <p:cNvSpPr/>
            <p:nvPr/>
          </p:nvSpPr>
          <p:spPr>
            <a:xfrm flipH="1">
              <a:off x="3058625" y="1497552"/>
              <a:ext cx="1235584" cy="1235584"/>
            </a:xfrm>
            <a:prstGeom prst="roundRect">
              <a:avLst>
                <a:gd name="adj" fmla="val 11249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1F48E884-AA53-7930-F473-AF00FCBB2AED}"/>
                </a:ext>
              </a:extLst>
            </p:cNvPr>
            <p:cNvSpPr/>
            <p:nvPr/>
          </p:nvSpPr>
          <p:spPr>
            <a:xfrm flipH="1">
              <a:off x="1700763" y="1497552"/>
              <a:ext cx="1235584" cy="1235584"/>
            </a:xfrm>
            <a:prstGeom prst="roundRect">
              <a:avLst>
                <a:gd name="adj" fmla="val 11249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D723CFAD-D5E8-D939-4B1B-993923AD4311}"/>
                </a:ext>
              </a:extLst>
            </p:cNvPr>
            <p:cNvSpPr/>
            <p:nvPr/>
          </p:nvSpPr>
          <p:spPr>
            <a:xfrm>
              <a:off x="342900" y="2826727"/>
              <a:ext cx="1235584" cy="1235584"/>
            </a:xfrm>
            <a:prstGeom prst="roundRect">
              <a:avLst>
                <a:gd name="adj" fmla="val 11249"/>
              </a:avLst>
            </a:prstGeom>
            <a:solidFill>
              <a:schemeClr val="bg1"/>
            </a:solidFill>
            <a:ln>
              <a:noFill/>
            </a:ln>
            <a:effectLst>
              <a:outerShdw blurRad="203200" sx="102000" sy="102000" algn="ctr" rotWithShape="0">
                <a:schemeClr val="tx1">
                  <a:alpha val="16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5C3D2679-A04B-E43C-FF56-8DAD24F84B8B}"/>
                </a:ext>
              </a:extLst>
            </p:cNvPr>
            <p:cNvSpPr/>
            <p:nvPr/>
          </p:nvSpPr>
          <p:spPr>
            <a:xfrm flipH="1">
              <a:off x="3058625" y="2826727"/>
              <a:ext cx="1235584" cy="1235584"/>
            </a:xfrm>
            <a:prstGeom prst="roundRect">
              <a:avLst>
                <a:gd name="adj" fmla="val 1124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6D413AA0-12A1-0A9F-AD6A-4C81D24BD2EC}"/>
                </a:ext>
              </a:extLst>
            </p:cNvPr>
            <p:cNvSpPr/>
            <p:nvPr/>
          </p:nvSpPr>
          <p:spPr>
            <a:xfrm flipH="1">
              <a:off x="1700763" y="2826727"/>
              <a:ext cx="1235584" cy="1235584"/>
            </a:xfrm>
            <a:prstGeom prst="roundRect">
              <a:avLst>
                <a:gd name="adj" fmla="val 1124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76041311-3D67-1026-0832-EF8D7D3FE1A9}"/>
                </a:ext>
              </a:extLst>
            </p:cNvPr>
            <p:cNvSpPr/>
            <p:nvPr/>
          </p:nvSpPr>
          <p:spPr>
            <a:xfrm>
              <a:off x="342901" y="4155902"/>
              <a:ext cx="1235584" cy="1235584"/>
            </a:xfrm>
            <a:prstGeom prst="roundRect">
              <a:avLst>
                <a:gd name="adj" fmla="val 11249"/>
              </a:avLst>
            </a:prstGeom>
            <a:solidFill>
              <a:schemeClr val="bg1"/>
            </a:solidFill>
            <a:ln>
              <a:noFill/>
            </a:ln>
            <a:effectLst>
              <a:outerShdw blurRad="203200" sx="102000" sy="102000" algn="ctr" rotWithShape="0">
                <a:schemeClr val="tx1">
                  <a:alpha val="16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: Top Corners Rounded 30">
              <a:extLst>
                <a:ext uri="{FF2B5EF4-FFF2-40B4-BE49-F238E27FC236}">
                  <a16:creationId xmlns:a16="http://schemas.microsoft.com/office/drawing/2014/main" id="{0E915247-A562-682C-96EC-EC58B9CFB37D}"/>
                </a:ext>
              </a:extLst>
            </p:cNvPr>
            <p:cNvSpPr/>
            <p:nvPr/>
          </p:nvSpPr>
          <p:spPr>
            <a:xfrm rot="10800000">
              <a:off x="504066" y="4155902"/>
              <a:ext cx="913254" cy="363147"/>
            </a:xfrm>
            <a:prstGeom prst="round2SameRect">
              <a:avLst>
                <a:gd name="adj1" fmla="val 31814"/>
                <a:gd name="adj2" fmla="val 0"/>
              </a:avLst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3B2839B7-0458-5E4B-EFFA-B88B9CE59698}"/>
                </a:ext>
              </a:extLst>
            </p:cNvPr>
            <p:cNvSpPr/>
            <p:nvPr/>
          </p:nvSpPr>
          <p:spPr>
            <a:xfrm flipH="1">
              <a:off x="3058625" y="4155902"/>
              <a:ext cx="1235584" cy="1235584"/>
            </a:xfrm>
            <a:prstGeom prst="roundRect">
              <a:avLst>
                <a:gd name="adj" fmla="val 1124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59F03E0A-4FFD-C365-3C8B-3500EA614531}"/>
                </a:ext>
              </a:extLst>
            </p:cNvPr>
            <p:cNvSpPr/>
            <p:nvPr/>
          </p:nvSpPr>
          <p:spPr>
            <a:xfrm flipH="1">
              <a:off x="1700763" y="4155902"/>
              <a:ext cx="1235584" cy="1235584"/>
            </a:xfrm>
            <a:prstGeom prst="roundRect">
              <a:avLst>
                <a:gd name="adj" fmla="val 1124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: Top Corners Rounded 44">
              <a:extLst>
                <a:ext uri="{FF2B5EF4-FFF2-40B4-BE49-F238E27FC236}">
                  <a16:creationId xmlns:a16="http://schemas.microsoft.com/office/drawing/2014/main" id="{817C53F7-3DE3-3F3F-D4E3-A4C785C3533E}"/>
                </a:ext>
              </a:extLst>
            </p:cNvPr>
            <p:cNvSpPr/>
            <p:nvPr/>
          </p:nvSpPr>
          <p:spPr>
            <a:xfrm rot="16200000">
              <a:off x="2298146" y="4592121"/>
              <a:ext cx="913254" cy="363147"/>
            </a:xfrm>
            <a:prstGeom prst="round2SameRect">
              <a:avLst>
                <a:gd name="adj1" fmla="val 31814"/>
                <a:gd name="adj2" fmla="val 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: Top Corners Rounded 45">
              <a:extLst>
                <a:ext uri="{FF2B5EF4-FFF2-40B4-BE49-F238E27FC236}">
                  <a16:creationId xmlns:a16="http://schemas.microsoft.com/office/drawing/2014/main" id="{7ABC89AA-0819-0F01-30A1-1E6B30EE0D9F}"/>
                </a:ext>
              </a:extLst>
            </p:cNvPr>
            <p:cNvSpPr/>
            <p:nvPr/>
          </p:nvSpPr>
          <p:spPr>
            <a:xfrm rot="10800000" flipV="1">
              <a:off x="3219791" y="5028339"/>
              <a:ext cx="913254" cy="363147"/>
            </a:xfrm>
            <a:prstGeom prst="round2SameRect">
              <a:avLst>
                <a:gd name="adj1" fmla="val 31814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DF61ACD2-4BD4-069C-CF18-A35ED2354C40}"/>
                </a:ext>
              </a:extLst>
            </p:cNvPr>
            <p:cNvSpPr/>
            <p:nvPr/>
          </p:nvSpPr>
          <p:spPr>
            <a:xfrm>
              <a:off x="4455373" y="1497552"/>
              <a:ext cx="3596733" cy="1235584"/>
            </a:xfrm>
            <a:prstGeom prst="roundRect">
              <a:avLst>
                <a:gd name="adj" fmla="val 11249"/>
              </a:avLst>
            </a:prstGeom>
            <a:solidFill>
              <a:schemeClr val="bg1"/>
            </a:solidFill>
            <a:ln>
              <a:noFill/>
            </a:ln>
            <a:effectLst>
              <a:outerShdw blurRad="203200" sx="102000" sy="102000" algn="ctr" rotWithShape="0">
                <a:schemeClr val="tx1">
                  <a:alpha val="16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888015DA-B839-4CD8-C7DB-4CD5AA2C9E6D}"/>
                </a:ext>
              </a:extLst>
            </p:cNvPr>
            <p:cNvSpPr/>
            <p:nvPr/>
          </p:nvSpPr>
          <p:spPr>
            <a:xfrm>
              <a:off x="8252366" y="1497551"/>
              <a:ext cx="3596733" cy="1235585"/>
            </a:xfrm>
            <a:custGeom>
              <a:avLst/>
              <a:gdLst>
                <a:gd name="connsiteX0" fmla="*/ 138991 w 3596733"/>
                <a:gd name="connsiteY0" fmla="*/ 0 h 1235585"/>
                <a:gd name="connsiteX1" fmla="*/ 1373711 w 3596733"/>
                <a:gd name="connsiteY1" fmla="*/ 0 h 1235585"/>
                <a:gd name="connsiteX2" fmla="*/ 1798366 w 3596733"/>
                <a:gd name="connsiteY2" fmla="*/ 424655 h 1235585"/>
                <a:gd name="connsiteX3" fmla="*/ 2223021 w 3596733"/>
                <a:gd name="connsiteY3" fmla="*/ 0 h 1235585"/>
                <a:gd name="connsiteX4" fmla="*/ 3457742 w 3596733"/>
                <a:gd name="connsiteY4" fmla="*/ 0 h 1235585"/>
                <a:gd name="connsiteX5" fmla="*/ 3596733 w 3596733"/>
                <a:gd name="connsiteY5" fmla="*/ 138991 h 1235585"/>
                <a:gd name="connsiteX6" fmla="*/ 3596733 w 3596733"/>
                <a:gd name="connsiteY6" fmla="*/ 1096594 h 1235585"/>
                <a:gd name="connsiteX7" fmla="*/ 3457742 w 3596733"/>
                <a:gd name="connsiteY7" fmla="*/ 1235585 h 1235585"/>
                <a:gd name="connsiteX8" fmla="*/ 138991 w 3596733"/>
                <a:gd name="connsiteY8" fmla="*/ 1235585 h 1235585"/>
                <a:gd name="connsiteX9" fmla="*/ 0 w 3596733"/>
                <a:gd name="connsiteY9" fmla="*/ 1096594 h 1235585"/>
                <a:gd name="connsiteX10" fmla="*/ 0 w 3596733"/>
                <a:gd name="connsiteY10" fmla="*/ 138991 h 1235585"/>
                <a:gd name="connsiteX11" fmla="*/ 138991 w 3596733"/>
                <a:gd name="connsiteY11" fmla="*/ 0 h 1235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96733" h="1235585">
                  <a:moveTo>
                    <a:pt x="138991" y="0"/>
                  </a:moveTo>
                  <a:lnTo>
                    <a:pt x="1373711" y="0"/>
                  </a:lnTo>
                  <a:cubicBezTo>
                    <a:pt x="1373711" y="234530"/>
                    <a:pt x="1563836" y="424655"/>
                    <a:pt x="1798366" y="424655"/>
                  </a:cubicBezTo>
                  <a:cubicBezTo>
                    <a:pt x="2032896" y="424655"/>
                    <a:pt x="2223021" y="234530"/>
                    <a:pt x="2223021" y="0"/>
                  </a:cubicBezTo>
                  <a:lnTo>
                    <a:pt x="3457742" y="0"/>
                  </a:lnTo>
                  <a:cubicBezTo>
                    <a:pt x="3534505" y="0"/>
                    <a:pt x="3596733" y="62228"/>
                    <a:pt x="3596733" y="138991"/>
                  </a:cubicBezTo>
                  <a:lnTo>
                    <a:pt x="3596733" y="1096594"/>
                  </a:lnTo>
                  <a:cubicBezTo>
                    <a:pt x="3596733" y="1173357"/>
                    <a:pt x="3534505" y="1235585"/>
                    <a:pt x="3457742" y="1235585"/>
                  </a:cubicBezTo>
                  <a:lnTo>
                    <a:pt x="138991" y="1235585"/>
                  </a:lnTo>
                  <a:cubicBezTo>
                    <a:pt x="62228" y="1235585"/>
                    <a:pt x="0" y="1173357"/>
                    <a:pt x="0" y="1096594"/>
                  </a:cubicBezTo>
                  <a:lnTo>
                    <a:pt x="0" y="138991"/>
                  </a:lnTo>
                  <a:cubicBezTo>
                    <a:pt x="0" y="62228"/>
                    <a:pt x="62228" y="0"/>
                    <a:pt x="13899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203200" sx="102000" sy="102000" algn="ctr" rotWithShape="0">
                <a:schemeClr val="tx1">
                  <a:alpha val="16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189FF46B-C806-9922-E944-CA9BF547CA69}"/>
                </a:ext>
              </a:extLst>
            </p:cNvPr>
            <p:cNvSpPr/>
            <p:nvPr/>
          </p:nvSpPr>
          <p:spPr>
            <a:xfrm>
              <a:off x="5829084" y="1072896"/>
              <a:ext cx="849310" cy="84931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B0C90024-C18B-2A4F-B150-8ECE945FCB64}"/>
                </a:ext>
              </a:extLst>
            </p:cNvPr>
            <p:cNvSpPr/>
            <p:nvPr/>
          </p:nvSpPr>
          <p:spPr>
            <a:xfrm>
              <a:off x="9693133" y="1139952"/>
              <a:ext cx="715198" cy="71519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5E4767FC-1E74-7586-AD16-484C640485E1}"/>
                </a:ext>
              </a:extLst>
            </p:cNvPr>
            <p:cNvSpPr/>
            <p:nvPr/>
          </p:nvSpPr>
          <p:spPr>
            <a:xfrm>
              <a:off x="4455373" y="2826727"/>
              <a:ext cx="3596733" cy="123558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203200" sx="102000" sy="102000" algn="ctr" rotWithShape="0">
                <a:schemeClr val="tx1">
                  <a:alpha val="16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1405EB68-6937-2D18-95E8-122F0D773ECA}"/>
                </a:ext>
              </a:extLst>
            </p:cNvPr>
            <p:cNvSpPr/>
            <p:nvPr/>
          </p:nvSpPr>
          <p:spPr>
            <a:xfrm>
              <a:off x="4609884" y="3019864"/>
              <a:ext cx="849310" cy="84931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CCA38188-3AD0-17D5-AECF-A5B64320A19B}"/>
                </a:ext>
              </a:extLst>
            </p:cNvPr>
            <p:cNvSpPr/>
            <p:nvPr/>
          </p:nvSpPr>
          <p:spPr>
            <a:xfrm>
              <a:off x="8671560" y="2826727"/>
              <a:ext cx="3177539" cy="1235584"/>
            </a:xfrm>
            <a:prstGeom prst="roundRect">
              <a:avLst>
                <a:gd name="adj" fmla="val 11249"/>
              </a:avLst>
            </a:prstGeom>
            <a:solidFill>
              <a:schemeClr val="bg1"/>
            </a:solidFill>
            <a:ln>
              <a:noFill/>
            </a:ln>
            <a:effectLst>
              <a:outerShdw blurRad="203200" sx="102000" sy="102000" algn="ctr" rotWithShape="0">
                <a:schemeClr val="tx1">
                  <a:alpha val="16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90D21503-7015-4A35-1A50-46F342AAD517}"/>
                </a:ext>
              </a:extLst>
            </p:cNvPr>
            <p:cNvSpPr/>
            <p:nvPr/>
          </p:nvSpPr>
          <p:spPr>
            <a:xfrm>
              <a:off x="8252366" y="3019864"/>
              <a:ext cx="849310" cy="84931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Freeform 71">
              <a:extLst>
                <a:ext uri="{FF2B5EF4-FFF2-40B4-BE49-F238E27FC236}">
                  <a16:creationId xmlns:a16="http://schemas.microsoft.com/office/drawing/2014/main" id="{E5EA4EFB-1395-BB83-ABB0-E62A109718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6583" y="3263544"/>
              <a:ext cx="315913" cy="361950"/>
            </a:xfrm>
            <a:custGeom>
              <a:avLst/>
              <a:gdLst>
                <a:gd name="T0" fmla="*/ 77 w 84"/>
                <a:gd name="T1" fmla="*/ 20 h 96"/>
                <a:gd name="T2" fmla="*/ 80 w 84"/>
                <a:gd name="T3" fmla="*/ 22 h 96"/>
                <a:gd name="T4" fmla="*/ 81 w 84"/>
                <a:gd name="T5" fmla="*/ 19 h 96"/>
                <a:gd name="T6" fmla="*/ 73 w 84"/>
                <a:gd name="T7" fmla="*/ 13 h 96"/>
                <a:gd name="T8" fmla="*/ 74 w 84"/>
                <a:gd name="T9" fmla="*/ 17 h 96"/>
                <a:gd name="T10" fmla="*/ 44 w 84"/>
                <a:gd name="T11" fmla="*/ 12 h 96"/>
                <a:gd name="T12" fmla="*/ 46 w 84"/>
                <a:gd name="T13" fmla="*/ 4 h 96"/>
                <a:gd name="T14" fmla="*/ 46 w 84"/>
                <a:gd name="T15" fmla="*/ 0 h 96"/>
                <a:gd name="T16" fmla="*/ 36 w 84"/>
                <a:gd name="T17" fmla="*/ 2 h 96"/>
                <a:gd name="T18" fmla="*/ 40 w 84"/>
                <a:gd name="T19" fmla="*/ 4 h 96"/>
                <a:gd name="T20" fmla="*/ 0 w 84"/>
                <a:gd name="T21" fmla="*/ 54 h 96"/>
                <a:gd name="T22" fmla="*/ 84 w 84"/>
                <a:gd name="T23" fmla="*/ 54 h 96"/>
                <a:gd name="T24" fmla="*/ 12 w 84"/>
                <a:gd name="T25" fmla="*/ 54 h 96"/>
                <a:gd name="T26" fmla="*/ 22 w 84"/>
                <a:gd name="T27" fmla="*/ 52 h 96"/>
                <a:gd name="T28" fmla="*/ 22 w 84"/>
                <a:gd name="T29" fmla="*/ 56 h 96"/>
                <a:gd name="T30" fmla="*/ 12 w 84"/>
                <a:gd name="T31" fmla="*/ 54 h 96"/>
                <a:gd name="T32" fmla="*/ 23 w 84"/>
                <a:gd name="T33" fmla="*/ 75 h 96"/>
                <a:gd name="T34" fmla="*/ 21 w 84"/>
                <a:gd name="T35" fmla="*/ 75 h 96"/>
                <a:gd name="T36" fmla="*/ 27 w 84"/>
                <a:gd name="T37" fmla="*/ 67 h 96"/>
                <a:gd name="T38" fmla="*/ 29 w 84"/>
                <a:gd name="T39" fmla="*/ 69 h 96"/>
                <a:gd name="T40" fmla="*/ 28 w 84"/>
                <a:gd name="T41" fmla="*/ 42 h 96"/>
                <a:gd name="T42" fmla="*/ 21 w 84"/>
                <a:gd name="T43" fmla="*/ 35 h 96"/>
                <a:gd name="T44" fmla="*/ 23 w 84"/>
                <a:gd name="T45" fmla="*/ 33 h 96"/>
                <a:gd name="T46" fmla="*/ 29 w 84"/>
                <a:gd name="T47" fmla="*/ 41 h 96"/>
                <a:gd name="T48" fmla="*/ 42 w 84"/>
                <a:gd name="T49" fmla="*/ 84 h 96"/>
                <a:gd name="T50" fmla="*/ 40 w 84"/>
                <a:gd name="T51" fmla="*/ 74 h 96"/>
                <a:gd name="T52" fmla="*/ 44 w 84"/>
                <a:gd name="T53" fmla="*/ 74 h 96"/>
                <a:gd name="T54" fmla="*/ 44 w 84"/>
                <a:gd name="T55" fmla="*/ 34 h 96"/>
                <a:gd name="T56" fmla="*/ 40 w 84"/>
                <a:gd name="T57" fmla="*/ 34 h 96"/>
                <a:gd name="T58" fmla="*/ 42 w 84"/>
                <a:gd name="T59" fmla="*/ 24 h 96"/>
                <a:gd name="T60" fmla="*/ 44 w 84"/>
                <a:gd name="T61" fmla="*/ 34 h 96"/>
                <a:gd name="T62" fmla="*/ 61 w 84"/>
                <a:gd name="T63" fmla="*/ 33 h 96"/>
                <a:gd name="T64" fmla="*/ 63 w 84"/>
                <a:gd name="T65" fmla="*/ 35 h 96"/>
                <a:gd name="T66" fmla="*/ 56 w 84"/>
                <a:gd name="T67" fmla="*/ 42 h 96"/>
                <a:gd name="T68" fmla="*/ 55 w 84"/>
                <a:gd name="T69" fmla="*/ 39 h 96"/>
                <a:gd name="T70" fmla="*/ 62 w 84"/>
                <a:gd name="T71" fmla="*/ 76 h 96"/>
                <a:gd name="T72" fmla="*/ 55 w 84"/>
                <a:gd name="T73" fmla="*/ 69 h 96"/>
                <a:gd name="T74" fmla="*/ 57 w 84"/>
                <a:gd name="T75" fmla="*/ 67 h 96"/>
                <a:gd name="T76" fmla="*/ 63 w 84"/>
                <a:gd name="T77" fmla="*/ 75 h 96"/>
                <a:gd name="T78" fmla="*/ 62 w 84"/>
                <a:gd name="T79" fmla="*/ 56 h 96"/>
                <a:gd name="T80" fmla="*/ 62 w 84"/>
                <a:gd name="T81" fmla="*/ 52 h 96"/>
                <a:gd name="T82" fmla="*/ 72 w 84"/>
                <a:gd name="T83" fmla="*/ 5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4" h="96">
                  <a:moveTo>
                    <a:pt x="72" y="25"/>
                  </a:moveTo>
                  <a:cubicBezTo>
                    <a:pt x="77" y="20"/>
                    <a:pt x="77" y="20"/>
                    <a:pt x="77" y="20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9" y="22"/>
                    <a:pt x="79" y="22"/>
                    <a:pt x="80" y="22"/>
                  </a:cubicBezTo>
                  <a:cubicBezTo>
                    <a:pt x="81" y="22"/>
                    <a:pt x="81" y="22"/>
                    <a:pt x="81" y="21"/>
                  </a:cubicBezTo>
                  <a:cubicBezTo>
                    <a:pt x="82" y="21"/>
                    <a:pt x="82" y="19"/>
                    <a:pt x="81" y="19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5" y="12"/>
                    <a:pt x="73" y="12"/>
                    <a:pt x="73" y="13"/>
                  </a:cubicBezTo>
                  <a:cubicBezTo>
                    <a:pt x="72" y="13"/>
                    <a:pt x="72" y="15"/>
                    <a:pt x="73" y="15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2" y="16"/>
                    <a:pt x="54" y="13"/>
                    <a:pt x="44" y="1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7" y="4"/>
                    <a:pt x="48" y="3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7" y="0"/>
                    <a:pt x="36" y="1"/>
                    <a:pt x="36" y="2"/>
                  </a:cubicBezTo>
                  <a:cubicBezTo>
                    <a:pt x="36" y="3"/>
                    <a:pt x="37" y="4"/>
                    <a:pt x="38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18" y="13"/>
                    <a:pt x="0" y="32"/>
                    <a:pt x="0" y="54"/>
                  </a:cubicBezTo>
                  <a:cubicBezTo>
                    <a:pt x="0" y="77"/>
                    <a:pt x="19" y="96"/>
                    <a:pt x="42" y="96"/>
                  </a:cubicBezTo>
                  <a:cubicBezTo>
                    <a:pt x="65" y="96"/>
                    <a:pt x="84" y="77"/>
                    <a:pt x="84" y="54"/>
                  </a:cubicBezTo>
                  <a:cubicBezTo>
                    <a:pt x="84" y="43"/>
                    <a:pt x="79" y="32"/>
                    <a:pt x="72" y="25"/>
                  </a:cubicBezTo>
                  <a:close/>
                  <a:moveTo>
                    <a:pt x="12" y="54"/>
                  </a:moveTo>
                  <a:cubicBezTo>
                    <a:pt x="12" y="53"/>
                    <a:pt x="13" y="52"/>
                    <a:pt x="14" y="52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3" y="52"/>
                    <a:pt x="24" y="53"/>
                    <a:pt x="24" y="54"/>
                  </a:cubicBezTo>
                  <a:cubicBezTo>
                    <a:pt x="24" y="55"/>
                    <a:pt x="23" y="56"/>
                    <a:pt x="22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3" y="56"/>
                    <a:pt x="12" y="55"/>
                    <a:pt x="12" y="54"/>
                  </a:cubicBezTo>
                  <a:close/>
                  <a:moveTo>
                    <a:pt x="29" y="69"/>
                  </a:moveTo>
                  <a:cubicBezTo>
                    <a:pt x="23" y="75"/>
                    <a:pt x="23" y="75"/>
                    <a:pt x="23" y="75"/>
                  </a:cubicBezTo>
                  <a:cubicBezTo>
                    <a:pt x="23" y="76"/>
                    <a:pt x="23" y="76"/>
                    <a:pt x="22" y="76"/>
                  </a:cubicBezTo>
                  <a:cubicBezTo>
                    <a:pt x="21" y="76"/>
                    <a:pt x="21" y="76"/>
                    <a:pt x="21" y="75"/>
                  </a:cubicBezTo>
                  <a:cubicBezTo>
                    <a:pt x="20" y="75"/>
                    <a:pt x="20" y="73"/>
                    <a:pt x="21" y="73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6"/>
                    <a:pt x="29" y="66"/>
                    <a:pt x="29" y="67"/>
                  </a:cubicBezTo>
                  <a:cubicBezTo>
                    <a:pt x="30" y="67"/>
                    <a:pt x="30" y="69"/>
                    <a:pt x="29" y="69"/>
                  </a:cubicBezTo>
                  <a:close/>
                  <a:moveTo>
                    <a:pt x="29" y="41"/>
                  </a:moveTo>
                  <a:cubicBezTo>
                    <a:pt x="29" y="42"/>
                    <a:pt x="29" y="42"/>
                    <a:pt x="28" y="42"/>
                  </a:cubicBezTo>
                  <a:cubicBezTo>
                    <a:pt x="27" y="42"/>
                    <a:pt x="27" y="42"/>
                    <a:pt x="27" y="41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0" y="35"/>
                    <a:pt x="20" y="33"/>
                    <a:pt x="21" y="33"/>
                  </a:cubicBezTo>
                  <a:cubicBezTo>
                    <a:pt x="21" y="32"/>
                    <a:pt x="23" y="32"/>
                    <a:pt x="23" y="33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30" y="39"/>
                    <a:pt x="30" y="41"/>
                    <a:pt x="29" y="41"/>
                  </a:cubicBezTo>
                  <a:close/>
                  <a:moveTo>
                    <a:pt x="44" y="82"/>
                  </a:moveTo>
                  <a:cubicBezTo>
                    <a:pt x="44" y="83"/>
                    <a:pt x="43" y="84"/>
                    <a:pt x="42" y="84"/>
                  </a:cubicBezTo>
                  <a:cubicBezTo>
                    <a:pt x="41" y="84"/>
                    <a:pt x="40" y="83"/>
                    <a:pt x="40" y="82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73"/>
                    <a:pt x="41" y="72"/>
                    <a:pt x="42" y="72"/>
                  </a:cubicBezTo>
                  <a:cubicBezTo>
                    <a:pt x="43" y="72"/>
                    <a:pt x="44" y="73"/>
                    <a:pt x="44" y="74"/>
                  </a:cubicBezTo>
                  <a:lnTo>
                    <a:pt x="44" y="82"/>
                  </a:lnTo>
                  <a:close/>
                  <a:moveTo>
                    <a:pt x="44" y="34"/>
                  </a:moveTo>
                  <a:cubicBezTo>
                    <a:pt x="44" y="35"/>
                    <a:pt x="43" y="36"/>
                    <a:pt x="42" y="36"/>
                  </a:cubicBezTo>
                  <a:cubicBezTo>
                    <a:pt x="41" y="36"/>
                    <a:pt x="40" y="35"/>
                    <a:pt x="40" y="34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5"/>
                    <a:pt x="41" y="24"/>
                    <a:pt x="42" y="24"/>
                  </a:cubicBezTo>
                  <a:cubicBezTo>
                    <a:pt x="43" y="24"/>
                    <a:pt x="44" y="25"/>
                    <a:pt x="44" y="26"/>
                  </a:cubicBezTo>
                  <a:lnTo>
                    <a:pt x="44" y="34"/>
                  </a:lnTo>
                  <a:close/>
                  <a:moveTo>
                    <a:pt x="55" y="39"/>
                  </a:moveTo>
                  <a:cubicBezTo>
                    <a:pt x="61" y="33"/>
                    <a:pt x="61" y="33"/>
                    <a:pt x="61" y="33"/>
                  </a:cubicBezTo>
                  <a:cubicBezTo>
                    <a:pt x="61" y="32"/>
                    <a:pt x="63" y="32"/>
                    <a:pt x="63" y="33"/>
                  </a:cubicBezTo>
                  <a:cubicBezTo>
                    <a:pt x="64" y="33"/>
                    <a:pt x="64" y="35"/>
                    <a:pt x="63" y="35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7" y="42"/>
                    <a:pt x="57" y="42"/>
                    <a:pt x="56" y="42"/>
                  </a:cubicBezTo>
                  <a:cubicBezTo>
                    <a:pt x="55" y="42"/>
                    <a:pt x="55" y="42"/>
                    <a:pt x="55" y="41"/>
                  </a:cubicBezTo>
                  <a:cubicBezTo>
                    <a:pt x="54" y="41"/>
                    <a:pt x="54" y="39"/>
                    <a:pt x="55" y="39"/>
                  </a:cubicBezTo>
                  <a:close/>
                  <a:moveTo>
                    <a:pt x="63" y="75"/>
                  </a:moveTo>
                  <a:cubicBezTo>
                    <a:pt x="63" y="76"/>
                    <a:pt x="63" y="76"/>
                    <a:pt x="62" y="76"/>
                  </a:cubicBezTo>
                  <a:cubicBezTo>
                    <a:pt x="61" y="76"/>
                    <a:pt x="61" y="76"/>
                    <a:pt x="61" y="75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54" y="69"/>
                    <a:pt x="54" y="67"/>
                    <a:pt x="55" y="67"/>
                  </a:cubicBezTo>
                  <a:cubicBezTo>
                    <a:pt x="55" y="66"/>
                    <a:pt x="57" y="66"/>
                    <a:pt x="57" y="67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4" y="73"/>
                    <a:pt x="64" y="75"/>
                    <a:pt x="63" y="75"/>
                  </a:cubicBezTo>
                  <a:close/>
                  <a:moveTo>
                    <a:pt x="70" y="56"/>
                  </a:moveTo>
                  <a:cubicBezTo>
                    <a:pt x="62" y="56"/>
                    <a:pt x="62" y="56"/>
                    <a:pt x="62" y="56"/>
                  </a:cubicBezTo>
                  <a:cubicBezTo>
                    <a:pt x="61" y="56"/>
                    <a:pt x="60" y="55"/>
                    <a:pt x="60" y="54"/>
                  </a:cubicBezTo>
                  <a:cubicBezTo>
                    <a:pt x="60" y="53"/>
                    <a:pt x="61" y="52"/>
                    <a:pt x="62" y="52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71" y="52"/>
                    <a:pt x="72" y="53"/>
                    <a:pt x="72" y="54"/>
                  </a:cubicBezTo>
                  <a:cubicBezTo>
                    <a:pt x="72" y="55"/>
                    <a:pt x="71" y="56"/>
                    <a:pt x="70" y="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Freeform 71">
              <a:extLst>
                <a:ext uri="{FF2B5EF4-FFF2-40B4-BE49-F238E27FC236}">
                  <a16:creationId xmlns:a16="http://schemas.microsoft.com/office/drawing/2014/main" id="{BF4B896F-93EC-F05A-4C30-D3AB5B4C5D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19065" y="3263544"/>
              <a:ext cx="315913" cy="361950"/>
            </a:xfrm>
            <a:custGeom>
              <a:avLst/>
              <a:gdLst>
                <a:gd name="T0" fmla="*/ 77 w 84"/>
                <a:gd name="T1" fmla="*/ 20 h 96"/>
                <a:gd name="T2" fmla="*/ 80 w 84"/>
                <a:gd name="T3" fmla="*/ 22 h 96"/>
                <a:gd name="T4" fmla="*/ 81 w 84"/>
                <a:gd name="T5" fmla="*/ 19 h 96"/>
                <a:gd name="T6" fmla="*/ 73 w 84"/>
                <a:gd name="T7" fmla="*/ 13 h 96"/>
                <a:gd name="T8" fmla="*/ 74 w 84"/>
                <a:gd name="T9" fmla="*/ 17 h 96"/>
                <a:gd name="T10" fmla="*/ 44 w 84"/>
                <a:gd name="T11" fmla="*/ 12 h 96"/>
                <a:gd name="T12" fmla="*/ 46 w 84"/>
                <a:gd name="T13" fmla="*/ 4 h 96"/>
                <a:gd name="T14" fmla="*/ 46 w 84"/>
                <a:gd name="T15" fmla="*/ 0 h 96"/>
                <a:gd name="T16" fmla="*/ 36 w 84"/>
                <a:gd name="T17" fmla="*/ 2 h 96"/>
                <a:gd name="T18" fmla="*/ 40 w 84"/>
                <a:gd name="T19" fmla="*/ 4 h 96"/>
                <a:gd name="T20" fmla="*/ 0 w 84"/>
                <a:gd name="T21" fmla="*/ 54 h 96"/>
                <a:gd name="T22" fmla="*/ 84 w 84"/>
                <a:gd name="T23" fmla="*/ 54 h 96"/>
                <a:gd name="T24" fmla="*/ 12 w 84"/>
                <a:gd name="T25" fmla="*/ 54 h 96"/>
                <a:gd name="T26" fmla="*/ 22 w 84"/>
                <a:gd name="T27" fmla="*/ 52 h 96"/>
                <a:gd name="T28" fmla="*/ 22 w 84"/>
                <a:gd name="T29" fmla="*/ 56 h 96"/>
                <a:gd name="T30" fmla="*/ 12 w 84"/>
                <a:gd name="T31" fmla="*/ 54 h 96"/>
                <a:gd name="T32" fmla="*/ 23 w 84"/>
                <a:gd name="T33" fmla="*/ 75 h 96"/>
                <a:gd name="T34" fmla="*/ 21 w 84"/>
                <a:gd name="T35" fmla="*/ 75 h 96"/>
                <a:gd name="T36" fmla="*/ 27 w 84"/>
                <a:gd name="T37" fmla="*/ 67 h 96"/>
                <a:gd name="T38" fmla="*/ 29 w 84"/>
                <a:gd name="T39" fmla="*/ 69 h 96"/>
                <a:gd name="T40" fmla="*/ 28 w 84"/>
                <a:gd name="T41" fmla="*/ 42 h 96"/>
                <a:gd name="T42" fmla="*/ 21 w 84"/>
                <a:gd name="T43" fmla="*/ 35 h 96"/>
                <a:gd name="T44" fmla="*/ 23 w 84"/>
                <a:gd name="T45" fmla="*/ 33 h 96"/>
                <a:gd name="T46" fmla="*/ 29 w 84"/>
                <a:gd name="T47" fmla="*/ 41 h 96"/>
                <a:gd name="T48" fmla="*/ 42 w 84"/>
                <a:gd name="T49" fmla="*/ 84 h 96"/>
                <a:gd name="T50" fmla="*/ 40 w 84"/>
                <a:gd name="T51" fmla="*/ 74 h 96"/>
                <a:gd name="T52" fmla="*/ 44 w 84"/>
                <a:gd name="T53" fmla="*/ 74 h 96"/>
                <a:gd name="T54" fmla="*/ 44 w 84"/>
                <a:gd name="T55" fmla="*/ 34 h 96"/>
                <a:gd name="T56" fmla="*/ 40 w 84"/>
                <a:gd name="T57" fmla="*/ 34 h 96"/>
                <a:gd name="T58" fmla="*/ 42 w 84"/>
                <a:gd name="T59" fmla="*/ 24 h 96"/>
                <a:gd name="T60" fmla="*/ 44 w 84"/>
                <a:gd name="T61" fmla="*/ 34 h 96"/>
                <a:gd name="T62" fmla="*/ 61 w 84"/>
                <a:gd name="T63" fmla="*/ 33 h 96"/>
                <a:gd name="T64" fmla="*/ 63 w 84"/>
                <a:gd name="T65" fmla="*/ 35 h 96"/>
                <a:gd name="T66" fmla="*/ 56 w 84"/>
                <a:gd name="T67" fmla="*/ 42 h 96"/>
                <a:gd name="T68" fmla="*/ 55 w 84"/>
                <a:gd name="T69" fmla="*/ 39 h 96"/>
                <a:gd name="T70" fmla="*/ 62 w 84"/>
                <a:gd name="T71" fmla="*/ 76 h 96"/>
                <a:gd name="T72" fmla="*/ 55 w 84"/>
                <a:gd name="T73" fmla="*/ 69 h 96"/>
                <a:gd name="T74" fmla="*/ 57 w 84"/>
                <a:gd name="T75" fmla="*/ 67 h 96"/>
                <a:gd name="T76" fmla="*/ 63 w 84"/>
                <a:gd name="T77" fmla="*/ 75 h 96"/>
                <a:gd name="T78" fmla="*/ 62 w 84"/>
                <a:gd name="T79" fmla="*/ 56 h 96"/>
                <a:gd name="T80" fmla="*/ 62 w 84"/>
                <a:gd name="T81" fmla="*/ 52 h 96"/>
                <a:gd name="T82" fmla="*/ 72 w 84"/>
                <a:gd name="T83" fmla="*/ 5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4" h="96">
                  <a:moveTo>
                    <a:pt x="72" y="25"/>
                  </a:moveTo>
                  <a:cubicBezTo>
                    <a:pt x="77" y="20"/>
                    <a:pt x="77" y="20"/>
                    <a:pt x="77" y="20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9" y="22"/>
                    <a:pt x="79" y="22"/>
                    <a:pt x="80" y="22"/>
                  </a:cubicBezTo>
                  <a:cubicBezTo>
                    <a:pt x="81" y="22"/>
                    <a:pt x="81" y="22"/>
                    <a:pt x="81" y="21"/>
                  </a:cubicBezTo>
                  <a:cubicBezTo>
                    <a:pt x="82" y="21"/>
                    <a:pt x="82" y="19"/>
                    <a:pt x="81" y="19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5" y="12"/>
                    <a:pt x="73" y="12"/>
                    <a:pt x="73" y="13"/>
                  </a:cubicBezTo>
                  <a:cubicBezTo>
                    <a:pt x="72" y="13"/>
                    <a:pt x="72" y="15"/>
                    <a:pt x="73" y="15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2" y="16"/>
                    <a:pt x="54" y="13"/>
                    <a:pt x="44" y="1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7" y="4"/>
                    <a:pt x="48" y="3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7" y="0"/>
                    <a:pt x="36" y="1"/>
                    <a:pt x="36" y="2"/>
                  </a:cubicBezTo>
                  <a:cubicBezTo>
                    <a:pt x="36" y="3"/>
                    <a:pt x="37" y="4"/>
                    <a:pt x="38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18" y="13"/>
                    <a:pt x="0" y="32"/>
                    <a:pt x="0" y="54"/>
                  </a:cubicBezTo>
                  <a:cubicBezTo>
                    <a:pt x="0" y="77"/>
                    <a:pt x="19" y="96"/>
                    <a:pt x="42" y="96"/>
                  </a:cubicBezTo>
                  <a:cubicBezTo>
                    <a:pt x="65" y="96"/>
                    <a:pt x="84" y="77"/>
                    <a:pt x="84" y="54"/>
                  </a:cubicBezTo>
                  <a:cubicBezTo>
                    <a:pt x="84" y="43"/>
                    <a:pt x="79" y="32"/>
                    <a:pt x="72" y="25"/>
                  </a:cubicBezTo>
                  <a:close/>
                  <a:moveTo>
                    <a:pt x="12" y="54"/>
                  </a:moveTo>
                  <a:cubicBezTo>
                    <a:pt x="12" y="53"/>
                    <a:pt x="13" y="52"/>
                    <a:pt x="14" y="52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3" y="52"/>
                    <a:pt x="24" y="53"/>
                    <a:pt x="24" y="54"/>
                  </a:cubicBezTo>
                  <a:cubicBezTo>
                    <a:pt x="24" y="55"/>
                    <a:pt x="23" y="56"/>
                    <a:pt x="22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3" y="56"/>
                    <a:pt x="12" y="55"/>
                    <a:pt x="12" y="54"/>
                  </a:cubicBezTo>
                  <a:close/>
                  <a:moveTo>
                    <a:pt x="29" y="69"/>
                  </a:moveTo>
                  <a:cubicBezTo>
                    <a:pt x="23" y="75"/>
                    <a:pt x="23" y="75"/>
                    <a:pt x="23" y="75"/>
                  </a:cubicBezTo>
                  <a:cubicBezTo>
                    <a:pt x="23" y="76"/>
                    <a:pt x="23" y="76"/>
                    <a:pt x="22" y="76"/>
                  </a:cubicBezTo>
                  <a:cubicBezTo>
                    <a:pt x="21" y="76"/>
                    <a:pt x="21" y="76"/>
                    <a:pt x="21" y="75"/>
                  </a:cubicBezTo>
                  <a:cubicBezTo>
                    <a:pt x="20" y="75"/>
                    <a:pt x="20" y="73"/>
                    <a:pt x="21" y="73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6"/>
                    <a:pt x="29" y="66"/>
                    <a:pt x="29" y="67"/>
                  </a:cubicBezTo>
                  <a:cubicBezTo>
                    <a:pt x="30" y="67"/>
                    <a:pt x="30" y="69"/>
                    <a:pt x="29" y="69"/>
                  </a:cubicBezTo>
                  <a:close/>
                  <a:moveTo>
                    <a:pt x="29" y="41"/>
                  </a:moveTo>
                  <a:cubicBezTo>
                    <a:pt x="29" y="42"/>
                    <a:pt x="29" y="42"/>
                    <a:pt x="28" y="42"/>
                  </a:cubicBezTo>
                  <a:cubicBezTo>
                    <a:pt x="27" y="42"/>
                    <a:pt x="27" y="42"/>
                    <a:pt x="27" y="41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0" y="35"/>
                    <a:pt x="20" y="33"/>
                    <a:pt x="21" y="33"/>
                  </a:cubicBezTo>
                  <a:cubicBezTo>
                    <a:pt x="21" y="32"/>
                    <a:pt x="23" y="32"/>
                    <a:pt x="23" y="33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30" y="39"/>
                    <a:pt x="30" y="41"/>
                    <a:pt x="29" y="41"/>
                  </a:cubicBezTo>
                  <a:close/>
                  <a:moveTo>
                    <a:pt x="44" y="82"/>
                  </a:moveTo>
                  <a:cubicBezTo>
                    <a:pt x="44" y="83"/>
                    <a:pt x="43" y="84"/>
                    <a:pt x="42" y="84"/>
                  </a:cubicBezTo>
                  <a:cubicBezTo>
                    <a:pt x="41" y="84"/>
                    <a:pt x="40" y="83"/>
                    <a:pt x="40" y="82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73"/>
                    <a:pt x="41" y="72"/>
                    <a:pt x="42" y="72"/>
                  </a:cubicBezTo>
                  <a:cubicBezTo>
                    <a:pt x="43" y="72"/>
                    <a:pt x="44" y="73"/>
                    <a:pt x="44" y="74"/>
                  </a:cubicBezTo>
                  <a:lnTo>
                    <a:pt x="44" y="82"/>
                  </a:lnTo>
                  <a:close/>
                  <a:moveTo>
                    <a:pt x="44" y="34"/>
                  </a:moveTo>
                  <a:cubicBezTo>
                    <a:pt x="44" y="35"/>
                    <a:pt x="43" y="36"/>
                    <a:pt x="42" y="36"/>
                  </a:cubicBezTo>
                  <a:cubicBezTo>
                    <a:pt x="41" y="36"/>
                    <a:pt x="40" y="35"/>
                    <a:pt x="40" y="34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5"/>
                    <a:pt x="41" y="24"/>
                    <a:pt x="42" y="24"/>
                  </a:cubicBezTo>
                  <a:cubicBezTo>
                    <a:pt x="43" y="24"/>
                    <a:pt x="44" y="25"/>
                    <a:pt x="44" y="26"/>
                  </a:cubicBezTo>
                  <a:lnTo>
                    <a:pt x="44" y="34"/>
                  </a:lnTo>
                  <a:close/>
                  <a:moveTo>
                    <a:pt x="55" y="39"/>
                  </a:moveTo>
                  <a:cubicBezTo>
                    <a:pt x="61" y="33"/>
                    <a:pt x="61" y="33"/>
                    <a:pt x="61" y="33"/>
                  </a:cubicBezTo>
                  <a:cubicBezTo>
                    <a:pt x="61" y="32"/>
                    <a:pt x="63" y="32"/>
                    <a:pt x="63" y="33"/>
                  </a:cubicBezTo>
                  <a:cubicBezTo>
                    <a:pt x="64" y="33"/>
                    <a:pt x="64" y="35"/>
                    <a:pt x="63" y="35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7" y="42"/>
                    <a:pt x="57" y="42"/>
                    <a:pt x="56" y="42"/>
                  </a:cubicBezTo>
                  <a:cubicBezTo>
                    <a:pt x="55" y="42"/>
                    <a:pt x="55" y="42"/>
                    <a:pt x="55" y="41"/>
                  </a:cubicBezTo>
                  <a:cubicBezTo>
                    <a:pt x="54" y="41"/>
                    <a:pt x="54" y="39"/>
                    <a:pt x="55" y="39"/>
                  </a:cubicBezTo>
                  <a:close/>
                  <a:moveTo>
                    <a:pt x="63" y="75"/>
                  </a:moveTo>
                  <a:cubicBezTo>
                    <a:pt x="63" y="76"/>
                    <a:pt x="63" y="76"/>
                    <a:pt x="62" y="76"/>
                  </a:cubicBezTo>
                  <a:cubicBezTo>
                    <a:pt x="61" y="76"/>
                    <a:pt x="61" y="76"/>
                    <a:pt x="61" y="75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54" y="69"/>
                    <a:pt x="54" y="67"/>
                    <a:pt x="55" y="67"/>
                  </a:cubicBezTo>
                  <a:cubicBezTo>
                    <a:pt x="55" y="66"/>
                    <a:pt x="57" y="66"/>
                    <a:pt x="57" y="67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4" y="73"/>
                    <a:pt x="64" y="75"/>
                    <a:pt x="63" y="75"/>
                  </a:cubicBezTo>
                  <a:close/>
                  <a:moveTo>
                    <a:pt x="70" y="56"/>
                  </a:moveTo>
                  <a:cubicBezTo>
                    <a:pt x="62" y="56"/>
                    <a:pt x="62" y="56"/>
                    <a:pt x="62" y="56"/>
                  </a:cubicBezTo>
                  <a:cubicBezTo>
                    <a:pt x="61" y="56"/>
                    <a:pt x="60" y="55"/>
                    <a:pt x="60" y="54"/>
                  </a:cubicBezTo>
                  <a:cubicBezTo>
                    <a:pt x="60" y="53"/>
                    <a:pt x="61" y="52"/>
                    <a:pt x="62" y="52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71" y="52"/>
                    <a:pt x="72" y="53"/>
                    <a:pt x="72" y="54"/>
                  </a:cubicBezTo>
                  <a:cubicBezTo>
                    <a:pt x="72" y="55"/>
                    <a:pt x="71" y="56"/>
                    <a:pt x="70" y="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71">
              <a:extLst>
                <a:ext uri="{FF2B5EF4-FFF2-40B4-BE49-F238E27FC236}">
                  <a16:creationId xmlns:a16="http://schemas.microsoft.com/office/drawing/2014/main" id="{E64EA977-B7F9-673D-134C-1B6EA7B1E3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92776" y="1306416"/>
              <a:ext cx="315913" cy="361950"/>
            </a:xfrm>
            <a:custGeom>
              <a:avLst/>
              <a:gdLst>
                <a:gd name="T0" fmla="*/ 77 w 84"/>
                <a:gd name="T1" fmla="*/ 20 h 96"/>
                <a:gd name="T2" fmla="*/ 80 w 84"/>
                <a:gd name="T3" fmla="*/ 22 h 96"/>
                <a:gd name="T4" fmla="*/ 81 w 84"/>
                <a:gd name="T5" fmla="*/ 19 h 96"/>
                <a:gd name="T6" fmla="*/ 73 w 84"/>
                <a:gd name="T7" fmla="*/ 13 h 96"/>
                <a:gd name="T8" fmla="*/ 74 w 84"/>
                <a:gd name="T9" fmla="*/ 17 h 96"/>
                <a:gd name="T10" fmla="*/ 44 w 84"/>
                <a:gd name="T11" fmla="*/ 12 h 96"/>
                <a:gd name="T12" fmla="*/ 46 w 84"/>
                <a:gd name="T13" fmla="*/ 4 h 96"/>
                <a:gd name="T14" fmla="*/ 46 w 84"/>
                <a:gd name="T15" fmla="*/ 0 h 96"/>
                <a:gd name="T16" fmla="*/ 36 w 84"/>
                <a:gd name="T17" fmla="*/ 2 h 96"/>
                <a:gd name="T18" fmla="*/ 40 w 84"/>
                <a:gd name="T19" fmla="*/ 4 h 96"/>
                <a:gd name="T20" fmla="*/ 0 w 84"/>
                <a:gd name="T21" fmla="*/ 54 h 96"/>
                <a:gd name="T22" fmla="*/ 84 w 84"/>
                <a:gd name="T23" fmla="*/ 54 h 96"/>
                <a:gd name="T24" fmla="*/ 12 w 84"/>
                <a:gd name="T25" fmla="*/ 54 h 96"/>
                <a:gd name="T26" fmla="*/ 22 w 84"/>
                <a:gd name="T27" fmla="*/ 52 h 96"/>
                <a:gd name="T28" fmla="*/ 22 w 84"/>
                <a:gd name="T29" fmla="*/ 56 h 96"/>
                <a:gd name="T30" fmla="*/ 12 w 84"/>
                <a:gd name="T31" fmla="*/ 54 h 96"/>
                <a:gd name="T32" fmla="*/ 23 w 84"/>
                <a:gd name="T33" fmla="*/ 75 h 96"/>
                <a:gd name="T34" fmla="*/ 21 w 84"/>
                <a:gd name="T35" fmla="*/ 75 h 96"/>
                <a:gd name="T36" fmla="*/ 27 w 84"/>
                <a:gd name="T37" fmla="*/ 67 h 96"/>
                <a:gd name="T38" fmla="*/ 29 w 84"/>
                <a:gd name="T39" fmla="*/ 69 h 96"/>
                <a:gd name="T40" fmla="*/ 28 w 84"/>
                <a:gd name="T41" fmla="*/ 42 h 96"/>
                <a:gd name="T42" fmla="*/ 21 w 84"/>
                <a:gd name="T43" fmla="*/ 35 h 96"/>
                <a:gd name="T44" fmla="*/ 23 w 84"/>
                <a:gd name="T45" fmla="*/ 33 h 96"/>
                <a:gd name="T46" fmla="*/ 29 w 84"/>
                <a:gd name="T47" fmla="*/ 41 h 96"/>
                <a:gd name="T48" fmla="*/ 42 w 84"/>
                <a:gd name="T49" fmla="*/ 84 h 96"/>
                <a:gd name="T50" fmla="*/ 40 w 84"/>
                <a:gd name="T51" fmla="*/ 74 h 96"/>
                <a:gd name="T52" fmla="*/ 44 w 84"/>
                <a:gd name="T53" fmla="*/ 74 h 96"/>
                <a:gd name="T54" fmla="*/ 44 w 84"/>
                <a:gd name="T55" fmla="*/ 34 h 96"/>
                <a:gd name="T56" fmla="*/ 40 w 84"/>
                <a:gd name="T57" fmla="*/ 34 h 96"/>
                <a:gd name="T58" fmla="*/ 42 w 84"/>
                <a:gd name="T59" fmla="*/ 24 h 96"/>
                <a:gd name="T60" fmla="*/ 44 w 84"/>
                <a:gd name="T61" fmla="*/ 34 h 96"/>
                <a:gd name="T62" fmla="*/ 61 w 84"/>
                <a:gd name="T63" fmla="*/ 33 h 96"/>
                <a:gd name="T64" fmla="*/ 63 w 84"/>
                <a:gd name="T65" fmla="*/ 35 h 96"/>
                <a:gd name="T66" fmla="*/ 56 w 84"/>
                <a:gd name="T67" fmla="*/ 42 h 96"/>
                <a:gd name="T68" fmla="*/ 55 w 84"/>
                <a:gd name="T69" fmla="*/ 39 h 96"/>
                <a:gd name="T70" fmla="*/ 62 w 84"/>
                <a:gd name="T71" fmla="*/ 76 h 96"/>
                <a:gd name="T72" fmla="*/ 55 w 84"/>
                <a:gd name="T73" fmla="*/ 69 h 96"/>
                <a:gd name="T74" fmla="*/ 57 w 84"/>
                <a:gd name="T75" fmla="*/ 67 h 96"/>
                <a:gd name="T76" fmla="*/ 63 w 84"/>
                <a:gd name="T77" fmla="*/ 75 h 96"/>
                <a:gd name="T78" fmla="*/ 62 w 84"/>
                <a:gd name="T79" fmla="*/ 56 h 96"/>
                <a:gd name="T80" fmla="*/ 62 w 84"/>
                <a:gd name="T81" fmla="*/ 52 h 96"/>
                <a:gd name="T82" fmla="*/ 72 w 84"/>
                <a:gd name="T83" fmla="*/ 5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4" h="96">
                  <a:moveTo>
                    <a:pt x="72" y="25"/>
                  </a:moveTo>
                  <a:cubicBezTo>
                    <a:pt x="77" y="20"/>
                    <a:pt x="77" y="20"/>
                    <a:pt x="77" y="20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9" y="22"/>
                    <a:pt x="79" y="22"/>
                    <a:pt x="80" y="22"/>
                  </a:cubicBezTo>
                  <a:cubicBezTo>
                    <a:pt x="81" y="22"/>
                    <a:pt x="81" y="22"/>
                    <a:pt x="81" y="21"/>
                  </a:cubicBezTo>
                  <a:cubicBezTo>
                    <a:pt x="82" y="21"/>
                    <a:pt x="82" y="19"/>
                    <a:pt x="81" y="19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5" y="12"/>
                    <a:pt x="73" y="12"/>
                    <a:pt x="73" y="13"/>
                  </a:cubicBezTo>
                  <a:cubicBezTo>
                    <a:pt x="72" y="13"/>
                    <a:pt x="72" y="15"/>
                    <a:pt x="73" y="15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2" y="16"/>
                    <a:pt x="54" y="13"/>
                    <a:pt x="44" y="1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7" y="4"/>
                    <a:pt x="48" y="3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7" y="0"/>
                    <a:pt x="36" y="1"/>
                    <a:pt x="36" y="2"/>
                  </a:cubicBezTo>
                  <a:cubicBezTo>
                    <a:pt x="36" y="3"/>
                    <a:pt x="37" y="4"/>
                    <a:pt x="38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18" y="13"/>
                    <a:pt x="0" y="32"/>
                    <a:pt x="0" y="54"/>
                  </a:cubicBezTo>
                  <a:cubicBezTo>
                    <a:pt x="0" y="77"/>
                    <a:pt x="19" y="96"/>
                    <a:pt x="42" y="96"/>
                  </a:cubicBezTo>
                  <a:cubicBezTo>
                    <a:pt x="65" y="96"/>
                    <a:pt x="84" y="77"/>
                    <a:pt x="84" y="54"/>
                  </a:cubicBezTo>
                  <a:cubicBezTo>
                    <a:pt x="84" y="43"/>
                    <a:pt x="79" y="32"/>
                    <a:pt x="72" y="25"/>
                  </a:cubicBezTo>
                  <a:close/>
                  <a:moveTo>
                    <a:pt x="12" y="54"/>
                  </a:moveTo>
                  <a:cubicBezTo>
                    <a:pt x="12" y="53"/>
                    <a:pt x="13" y="52"/>
                    <a:pt x="14" y="52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3" y="52"/>
                    <a:pt x="24" y="53"/>
                    <a:pt x="24" y="54"/>
                  </a:cubicBezTo>
                  <a:cubicBezTo>
                    <a:pt x="24" y="55"/>
                    <a:pt x="23" y="56"/>
                    <a:pt x="22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3" y="56"/>
                    <a:pt x="12" y="55"/>
                    <a:pt x="12" y="54"/>
                  </a:cubicBezTo>
                  <a:close/>
                  <a:moveTo>
                    <a:pt x="29" y="69"/>
                  </a:moveTo>
                  <a:cubicBezTo>
                    <a:pt x="23" y="75"/>
                    <a:pt x="23" y="75"/>
                    <a:pt x="23" y="75"/>
                  </a:cubicBezTo>
                  <a:cubicBezTo>
                    <a:pt x="23" y="76"/>
                    <a:pt x="23" y="76"/>
                    <a:pt x="22" y="76"/>
                  </a:cubicBezTo>
                  <a:cubicBezTo>
                    <a:pt x="21" y="76"/>
                    <a:pt x="21" y="76"/>
                    <a:pt x="21" y="75"/>
                  </a:cubicBezTo>
                  <a:cubicBezTo>
                    <a:pt x="20" y="75"/>
                    <a:pt x="20" y="73"/>
                    <a:pt x="21" y="73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6"/>
                    <a:pt x="29" y="66"/>
                    <a:pt x="29" y="67"/>
                  </a:cubicBezTo>
                  <a:cubicBezTo>
                    <a:pt x="30" y="67"/>
                    <a:pt x="30" y="69"/>
                    <a:pt x="29" y="69"/>
                  </a:cubicBezTo>
                  <a:close/>
                  <a:moveTo>
                    <a:pt x="29" y="41"/>
                  </a:moveTo>
                  <a:cubicBezTo>
                    <a:pt x="29" y="42"/>
                    <a:pt x="29" y="42"/>
                    <a:pt x="28" y="42"/>
                  </a:cubicBezTo>
                  <a:cubicBezTo>
                    <a:pt x="27" y="42"/>
                    <a:pt x="27" y="42"/>
                    <a:pt x="27" y="41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0" y="35"/>
                    <a:pt x="20" y="33"/>
                    <a:pt x="21" y="33"/>
                  </a:cubicBezTo>
                  <a:cubicBezTo>
                    <a:pt x="21" y="32"/>
                    <a:pt x="23" y="32"/>
                    <a:pt x="23" y="33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30" y="39"/>
                    <a:pt x="30" y="41"/>
                    <a:pt x="29" y="41"/>
                  </a:cubicBezTo>
                  <a:close/>
                  <a:moveTo>
                    <a:pt x="44" y="82"/>
                  </a:moveTo>
                  <a:cubicBezTo>
                    <a:pt x="44" y="83"/>
                    <a:pt x="43" y="84"/>
                    <a:pt x="42" y="84"/>
                  </a:cubicBezTo>
                  <a:cubicBezTo>
                    <a:pt x="41" y="84"/>
                    <a:pt x="40" y="83"/>
                    <a:pt x="40" y="82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73"/>
                    <a:pt x="41" y="72"/>
                    <a:pt x="42" y="72"/>
                  </a:cubicBezTo>
                  <a:cubicBezTo>
                    <a:pt x="43" y="72"/>
                    <a:pt x="44" y="73"/>
                    <a:pt x="44" y="74"/>
                  </a:cubicBezTo>
                  <a:lnTo>
                    <a:pt x="44" y="82"/>
                  </a:lnTo>
                  <a:close/>
                  <a:moveTo>
                    <a:pt x="44" y="34"/>
                  </a:moveTo>
                  <a:cubicBezTo>
                    <a:pt x="44" y="35"/>
                    <a:pt x="43" y="36"/>
                    <a:pt x="42" y="36"/>
                  </a:cubicBezTo>
                  <a:cubicBezTo>
                    <a:pt x="41" y="36"/>
                    <a:pt x="40" y="35"/>
                    <a:pt x="40" y="34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5"/>
                    <a:pt x="41" y="24"/>
                    <a:pt x="42" y="24"/>
                  </a:cubicBezTo>
                  <a:cubicBezTo>
                    <a:pt x="43" y="24"/>
                    <a:pt x="44" y="25"/>
                    <a:pt x="44" y="26"/>
                  </a:cubicBezTo>
                  <a:lnTo>
                    <a:pt x="44" y="34"/>
                  </a:lnTo>
                  <a:close/>
                  <a:moveTo>
                    <a:pt x="55" y="39"/>
                  </a:moveTo>
                  <a:cubicBezTo>
                    <a:pt x="61" y="33"/>
                    <a:pt x="61" y="33"/>
                    <a:pt x="61" y="33"/>
                  </a:cubicBezTo>
                  <a:cubicBezTo>
                    <a:pt x="61" y="32"/>
                    <a:pt x="63" y="32"/>
                    <a:pt x="63" y="33"/>
                  </a:cubicBezTo>
                  <a:cubicBezTo>
                    <a:pt x="64" y="33"/>
                    <a:pt x="64" y="35"/>
                    <a:pt x="63" y="35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7" y="42"/>
                    <a:pt x="57" y="42"/>
                    <a:pt x="56" y="42"/>
                  </a:cubicBezTo>
                  <a:cubicBezTo>
                    <a:pt x="55" y="42"/>
                    <a:pt x="55" y="42"/>
                    <a:pt x="55" y="41"/>
                  </a:cubicBezTo>
                  <a:cubicBezTo>
                    <a:pt x="54" y="41"/>
                    <a:pt x="54" y="39"/>
                    <a:pt x="55" y="39"/>
                  </a:cubicBezTo>
                  <a:close/>
                  <a:moveTo>
                    <a:pt x="63" y="75"/>
                  </a:moveTo>
                  <a:cubicBezTo>
                    <a:pt x="63" y="76"/>
                    <a:pt x="63" y="76"/>
                    <a:pt x="62" y="76"/>
                  </a:cubicBezTo>
                  <a:cubicBezTo>
                    <a:pt x="61" y="76"/>
                    <a:pt x="61" y="76"/>
                    <a:pt x="61" y="75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54" y="69"/>
                    <a:pt x="54" y="67"/>
                    <a:pt x="55" y="67"/>
                  </a:cubicBezTo>
                  <a:cubicBezTo>
                    <a:pt x="55" y="66"/>
                    <a:pt x="57" y="66"/>
                    <a:pt x="57" y="67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4" y="73"/>
                    <a:pt x="64" y="75"/>
                    <a:pt x="63" y="75"/>
                  </a:cubicBezTo>
                  <a:close/>
                  <a:moveTo>
                    <a:pt x="70" y="56"/>
                  </a:moveTo>
                  <a:cubicBezTo>
                    <a:pt x="62" y="56"/>
                    <a:pt x="62" y="56"/>
                    <a:pt x="62" y="56"/>
                  </a:cubicBezTo>
                  <a:cubicBezTo>
                    <a:pt x="61" y="56"/>
                    <a:pt x="60" y="55"/>
                    <a:pt x="60" y="54"/>
                  </a:cubicBezTo>
                  <a:cubicBezTo>
                    <a:pt x="60" y="53"/>
                    <a:pt x="61" y="52"/>
                    <a:pt x="62" y="52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71" y="52"/>
                    <a:pt x="72" y="53"/>
                    <a:pt x="72" y="54"/>
                  </a:cubicBezTo>
                  <a:cubicBezTo>
                    <a:pt x="72" y="55"/>
                    <a:pt x="71" y="56"/>
                    <a:pt x="70" y="5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Freeform 71">
              <a:extLst>
                <a:ext uri="{FF2B5EF4-FFF2-40B4-BE49-F238E27FC236}">
                  <a16:creationId xmlns:a16="http://schemas.microsoft.com/office/drawing/2014/main" id="{EF33926B-28E5-642B-7A4D-D42B51CE8F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95783" y="1316576"/>
              <a:ext cx="315913" cy="361950"/>
            </a:xfrm>
            <a:custGeom>
              <a:avLst/>
              <a:gdLst>
                <a:gd name="T0" fmla="*/ 77 w 84"/>
                <a:gd name="T1" fmla="*/ 20 h 96"/>
                <a:gd name="T2" fmla="*/ 80 w 84"/>
                <a:gd name="T3" fmla="*/ 22 h 96"/>
                <a:gd name="T4" fmla="*/ 81 w 84"/>
                <a:gd name="T5" fmla="*/ 19 h 96"/>
                <a:gd name="T6" fmla="*/ 73 w 84"/>
                <a:gd name="T7" fmla="*/ 13 h 96"/>
                <a:gd name="T8" fmla="*/ 74 w 84"/>
                <a:gd name="T9" fmla="*/ 17 h 96"/>
                <a:gd name="T10" fmla="*/ 44 w 84"/>
                <a:gd name="T11" fmla="*/ 12 h 96"/>
                <a:gd name="T12" fmla="*/ 46 w 84"/>
                <a:gd name="T13" fmla="*/ 4 h 96"/>
                <a:gd name="T14" fmla="*/ 46 w 84"/>
                <a:gd name="T15" fmla="*/ 0 h 96"/>
                <a:gd name="T16" fmla="*/ 36 w 84"/>
                <a:gd name="T17" fmla="*/ 2 h 96"/>
                <a:gd name="T18" fmla="*/ 40 w 84"/>
                <a:gd name="T19" fmla="*/ 4 h 96"/>
                <a:gd name="T20" fmla="*/ 0 w 84"/>
                <a:gd name="T21" fmla="*/ 54 h 96"/>
                <a:gd name="T22" fmla="*/ 84 w 84"/>
                <a:gd name="T23" fmla="*/ 54 h 96"/>
                <a:gd name="T24" fmla="*/ 12 w 84"/>
                <a:gd name="T25" fmla="*/ 54 h 96"/>
                <a:gd name="T26" fmla="*/ 22 w 84"/>
                <a:gd name="T27" fmla="*/ 52 h 96"/>
                <a:gd name="T28" fmla="*/ 22 w 84"/>
                <a:gd name="T29" fmla="*/ 56 h 96"/>
                <a:gd name="T30" fmla="*/ 12 w 84"/>
                <a:gd name="T31" fmla="*/ 54 h 96"/>
                <a:gd name="T32" fmla="*/ 23 w 84"/>
                <a:gd name="T33" fmla="*/ 75 h 96"/>
                <a:gd name="T34" fmla="*/ 21 w 84"/>
                <a:gd name="T35" fmla="*/ 75 h 96"/>
                <a:gd name="T36" fmla="*/ 27 w 84"/>
                <a:gd name="T37" fmla="*/ 67 h 96"/>
                <a:gd name="T38" fmla="*/ 29 w 84"/>
                <a:gd name="T39" fmla="*/ 69 h 96"/>
                <a:gd name="T40" fmla="*/ 28 w 84"/>
                <a:gd name="T41" fmla="*/ 42 h 96"/>
                <a:gd name="T42" fmla="*/ 21 w 84"/>
                <a:gd name="T43" fmla="*/ 35 h 96"/>
                <a:gd name="T44" fmla="*/ 23 w 84"/>
                <a:gd name="T45" fmla="*/ 33 h 96"/>
                <a:gd name="T46" fmla="*/ 29 w 84"/>
                <a:gd name="T47" fmla="*/ 41 h 96"/>
                <a:gd name="T48" fmla="*/ 42 w 84"/>
                <a:gd name="T49" fmla="*/ 84 h 96"/>
                <a:gd name="T50" fmla="*/ 40 w 84"/>
                <a:gd name="T51" fmla="*/ 74 h 96"/>
                <a:gd name="T52" fmla="*/ 44 w 84"/>
                <a:gd name="T53" fmla="*/ 74 h 96"/>
                <a:gd name="T54" fmla="*/ 44 w 84"/>
                <a:gd name="T55" fmla="*/ 34 h 96"/>
                <a:gd name="T56" fmla="*/ 40 w 84"/>
                <a:gd name="T57" fmla="*/ 34 h 96"/>
                <a:gd name="T58" fmla="*/ 42 w 84"/>
                <a:gd name="T59" fmla="*/ 24 h 96"/>
                <a:gd name="T60" fmla="*/ 44 w 84"/>
                <a:gd name="T61" fmla="*/ 34 h 96"/>
                <a:gd name="T62" fmla="*/ 61 w 84"/>
                <a:gd name="T63" fmla="*/ 33 h 96"/>
                <a:gd name="T64" fmla="*/ 63 w 84"/>
                <a:gd name="T65" fmla="*/ 35 h 96"/>
                <a:gd name="T66" fmla="*/ 56 w 84"/>
                <a:gd name="T67" fmla="*/ 42 h 96"/>
                <a:gd name="T68" fmla="*/ 55 w 84"/>
                <a:gd name="T69" fmla="*/ 39 h 96"/>
                <a:gd name="T70" fmla="*/ 62 w 84"/>
                <a:gd name="T71" fmla="*/ 76 h 96"/>
                <a:gd name="T72" fmla="*/ 55 w 84"/>
                <a:gd name="T73" fmla="*/ 69 h 96"/>
                <a:gd name="T74" fmla="*/ 57 w 84"/>
                <a:gd name="T75" fmla="*/ 67 h 96"/>
                <a:gd name="T76" fmla="*/ 63 w 84"/>
                <a:gd name="T77" fmla="*/ 75 h 96"/>
                <a:gd name="T78" fmla="*/ 62 w 84"/>
                <a:gd name="T79" fmla="*/ 56 h 96"/>
                <a:gd name="T80" fmla="*/ 62 w 84"/>
                <a:gd name="T81" fmla="*/ 52 h 96"/>
                <a:gd name="T82" fmla="*/ 72 w 84"/>
                <a:gd name="T83" fmla="*/ 5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4" h="96">
                  <a:moveTo>
                    <a:pt x="72" y="25"/>
                  </a:moveTo>
                  <a:cubicBezTo>
                    <a:pt x="77" y="20"/>
                    <a:pt x="77" y="20"/>
                    <a:pt x="77" y="20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9" y="22"/>
                    <a:pt x="79" y="22"/>
                    <a:pt x="80" y="22"/>
                  </a:cubicBezTo>
                  <a:cubicBezTo>
                    <a:pt x="81" y="22"/>
                    <a:pt x="81" y="22"/>
                    <a:pt x="81" y="21"/>
                  </a:cubicBezTo>
                  <a:cubicBezTo>
                    <a:pt x="82" y="21"/>
                    <a:pt x="82" y="19"/>
                    <a:pt x="81" y="19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5" y="12"/>
                    <a:pt x="73" y="12"/>
                    <a:pt x="73" y="13"/>
                  </a:cubicBezTo>
                  <a:cubicBezTo>
                    <a:pt x="72" y="13"/>
                    <a:pt x="72" y="15"/>
                    <a:pt x="73" y="15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2" y="16"/>
                    <a:pt x="54" y="13"/>
                    <a:pt x="44" y="1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7" y="4"/>
                    <a:pt x="48" y="3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7" y="0"/>
                    <a:pt x="36" y="1"/>
                    <a:pt x="36" y="2"/>
                  </a:cubicBezTo>
                  <a:cubicBezTo>
                    <a:pt x="36" y="3"/>
                    <a:pt x="37" y="4"/>
                    <a:pt x="38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18" y="13"/>
                    <a:pt x="0" y="32"/>
                    <a:pt x="0" y="54"/>
                  </a:cubicBezTo>
                  <a:cubicBezTo>
                    <a:pt x="0" y="77"/>
                    <a:pt x="19" y="96"/>
                    <a:pt x="42" y="96"/>
                  </a:cubicBezTo>
                  <a:cubicBezTo>
                    <a:pt x="65" y="96"/>
                    <a:pt x="84" y="77"/>
                    <a:pt x="84" y="54"/>
                  </a:cubicBezTo>
                  <a:cubicBezTo>
                    <a:pt x="84" y="43"/>
                    <a:pt x="79" y="32"/>
                    <a:pt x="72" y="25"/>
                  </a:cubicBezTo>
                  <a:close/>
                  <a:moveTo>
                    <a:pt x="12" y="54"/>
                  </a:moveTo>
                  <a:cubicBezTo>
                    <a:pt x="12" y="53"/>
                    <a:pt x="13" y="52"/>
                    <a:pt x="14" y="52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3" y="52"/>
                    <a:pt x="24" y="53"/>
                    <a:pt x="24" y="54"/>
                  </a:cubicBezTo>
                  <a:cubicBezTo>
                    <a:pt x="24" y="55"/>
                    <a:pt x="23" y="56"/>
                    <a:pt x="22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3" y="56"/>
                    <a:pt x="12" y="55"/>
                    <a:pt x="12" y="54"/>
                  </a:cubicBezTo>
                  <a:close/>
                  <a:moveTo>
                    <a:pt x="29" y="69"/>
                  </a:moveTo>
                  <a:cubicBezTo>
                    <a:pt x="23" y="75"/>
                    <a:pt x="23" y="75"/>
                    <a:pt x="23" y="75"/>
                  </a:cubicBezTo>
                  <a:cubicBezTo>
                    <a:pt x="23" y="76"/>
                    <a:pt x="23" y="76"/>
                    <a:pt x="22" y="76"/>
                  </a:cubicBezTo>
                  <a:cubicBezTo>
                    <a:pt x="21" y="76"/>
                    <a:pt x="21" y="76"/>
                    <a:pt x="21" y="75"/>
                  </a:cubicBezTo>
                  <a:cubicBezTo>
                    <a:pt x="20" y="75"/>
                    <a:pt x="20" y="73"/>
                    <a:pt x="21" y="73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6"/>
                    <a:pt x="29" y="66"/>
                    <a:pt x="29" y="67"/>
                  </a:cubicBezTo>
                  <a:cubicBezTo>
                    <a:pt x="30" y="67"/>
                    <a:pt x="30" y="69"/>
                    <a:pt x="29" y="69"/>
                  </a:cubicBezTo>
                  <a:close/>
                  <a:moveTo>
                    <a:pt x="29" y="41"/>
                  </a:moveTo>
                  <a:cubicBezTo>
                    <a:pt x="29" y="42"/>
                    <a:pt x="29" y="42"/>
                    <a:pt x="28" y="42"/>
                  </a:cubicBezTo>
                  <a:cubicBezTo>
                    <a:pt x="27" y="42"/>
                    <a:pt x="27" y="42"/>
                    <a:pt x="27" y="41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0" y="35"/>
                    <a:pt x="20" y="33"/>
                    <a:pt x="21" y="33"/>
                  </a:cubicBezTo>
                  <a:cubicBezTo>
                    <a:pt x="21" y="32"/>
                    <a:pt x="23" y="32"/>
                    <a:pt x="23" y="33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30" y="39"/>
                    <a:pt x="30" y="41"/>
                    <a:pt x="29" y="41"/>
                  </a:cubicBezTo>
                  <a:close/>
                  <a:moveTo>
                    <a:pt x="44" y="82"/>
                  </a:moveTo>
                  <a:cubicBezTo>
                    <a:pt x="44" y="83"/>
                    <a:pt x="43" y="84"/>
                    <a:pt x="42" y="84"/>
                  </a:cubicBezTo>
                  <a:cubicBezTo>
                    <a:pt x="41" y="84"/>
                    <a:pt x="40" y="83"/>
                    <a:pt x="40" y="82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73"/>
                    <a:pt x="41" y="72"/>
                    <a:pt x="42" y="72"/>
                  </a:cubicBezTo>
                  <a:cubicBezTo>
                    <a:pt x="43" y="72"/>
                    <a:pt x="44" y="73"/>
                    <a:pt x="44" y="74"/>
                  </a:cubicBezTo>
                  <a:lnTo>
                    <a:pt x="44" y="82"/>
                  </a:lnTo>
                  <a:close/>
                  <a:moveTo>
                    <a:pt x="44" y="34"/>
                  </a:moveTo>
                  <a:cubicBezTo>
                    <a:pt x="44" y="35"/>
                    <a:pt x="43" y="36"/>
                    <a:pt x="42" y="36"/>
                  </a:cubicBezTo>
                  <a:cubicBezTo>
                    <a:pt x="41" y="36"/>
                    <a:pt x="40" y="35"/>
                    <a:pt x="40" y="34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5"/>
                    <a:pt x="41" y="24"/>
                    <a:pt x="42" y="24"/>
                  </a:cubicBezTo>
                  <a:cubicBezTo>
                    <a:pt x="43" y="24"/>
                    <a:pt x="44" y="25"/>
                    <a:pt x="44" y="26"/>
                  </a:cubicBezTo>
                  <a:lnTo>
                    <a:pt x="44" y="34"/>
                  </a:lnTo>
                  <a:close/>
                  <a:moveTo>
                    <a:pt x="55" y="39"/>
                  </a:moveTo>
                  <a:cubicBezTo>
                    <a:pt x="61" y="33"/>
                    <a:pt x="61" y="33"/>
                    <a:pt x="61" y="33"/>
                  </a:cubicBezTo>
                  <a:cubicBezTo>
                    <a:pt x="61" y="32"/>
                    <a:pt x="63" y="32"/>
                    <a:pt x="63" y="33"/>
                  </a:cubicBezTo>
                  <a:cubicBezTo>
                    <a:pt x="64" y="33"/>
                    <a:pt x="64" y="35"/>
                    <a:pt x="63" y="35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7" y="42"/>
                    <a:pt x="57" y="42"/>
                    <a:pt x="56" y="42"/>
                  </a:cubicBezTo>
                  <a:cubicBezTo>
                    <a:pt x="55" y="42"/>
                    <a:pt x="55" y="42"/>
                    <a:pt x="55" y="41"/>
                  </a:cubicBezTo>
                  <a:cubicBezTo>
                    <a:pt x="54" y="41"/>
                    <a:pt x="54" y="39"/>
                    <a:pt x="55" y="39"/>
                  </a:cubicBezTo>
                  <a:close/>
                  <a:moveTo>
                    <a:pt x="63" y="75"/>
                  </a:moveTo>
                  <a:cubicBezTo>
                    <a:pt x="63" y="76"/>
                    <a:pt x="63" y="76"/>
                    <a:pt x="62" y="76"/>
                  </a:cubicBezTo>
                  <a:cubicBezTo>
                    <a:pt x="61" y="76"/>
                    <a:pt x="61" y="76"/>
                    <a:pt x="61" y="75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54" y="69"/>
                    <a:pt x="54" y="67"/>
                    <a:pt x="55" y="67"/>
                  </a:cubicBezTo>
                  <a:cubicBezTo>
                    <a:pt x="55" y="66"/>
                    <a:pt x="57" y="66"/>
                    <a:pt x="57" y="67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4" y="73"/>
                    <a:pt x="64" y="75"/>
                    <a:pt x="63" y="75"/>
                  </a:cubicBezTo>
                  <a:close/>
                  <a:moveTo>
                    <a:pt x="70" y="56"/>
                  </a:moveTo>
                  <a:cubicBezTo>
                    <a:pt x="62" y="56"/>
                    <a:pt x="62" y="56"/>
                    <a:pt x="62" y="56"/>
                  </a:cubicBezTo>
                  <a:cubicBezTo>
                    <a:pt x="61" y="56"/>
                    <a:pt x="60" y="55"/>
                    <a:pt x="60" y="54"/>
                  </a:cubicBezTo>
                  <a:cubicBezTo>
                    <a:pt x="60" y="53"/>
                    <a:pt x="61" y="52"/>
                    <a:pt x="62" y="52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71" y="52"/>
                    <a:pt x="72" y="53"/>
                    <a:pt x="72" y="54"/>
                  </a:cubicBezTo>
                  <a:cubicBezTo>
                    <a:pt x="72" y="55"/>
                    <a:pt x="71" y="56"/>
                    <a:pt x="70" y="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Title 5">
              <a:extLst>
                <a:ext uri="{FF2B5EF4-FFF2-40B4-BE49-F238E27FC236}">
                  <a16:creationId xmlns:a16="http://schemas.microsoft.com/office/drawing/2014/main" id="{0C0B2B11-8D79-0AF4-582C-0DC233429B7C}"/>
                </a:ext>
              </a:extLst>
            </p:cNvPr>
            <p:cNvSpPr txBox="1">
              <a:spLocks/>
            </p:cNvSpPr>
            <p:nvPr/>
          </p:nvSpPr>
          <p:spPr>
            <a:xfrm>
              <a:off x="4837428" y="4549017"/>
              <a:ext cx="7011672" cy="44935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r" defTabSz="914400" rtl="1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kern="1200">
                  <a:solidFill>
                    <a:schemeClr val="tx1"/>
                  </a:solidFill>
                  <a:latin typeface="HelveticaNeueLT Arabic 75 Bold" panose="020B0804020202020204" pitchFamily="34" charset="-78"/>
                  <a:ea typeface="+mj-ea"/>
                  <a:cs typeface="HelveticaNeueLT Arabic 75 Bold" panose="020B0804020202020204" pitchFamily="34" charset="-78"/>
                </a:defRPr>
              </a:lvl1pPr>
            </a:lstStyle>
            <a:p>
              <a:pPr algn="l" rtl="0"/>
              <a:r>
                <a:rPr lang="en-US" sz="1600" dirty="0">
                  <a:latin typeface="Nexa Light" panose="02000000000000000000" pitchFamily="50" charset="0"/>
                </a:rPr>
                <a:t>You can use those basic shape and combination, </a:t>
              </a:r>
              <a:r>
                <a:rPr lang="en-US" sz="1600" dirty="0" err="1">
                  <a:latin typeface="Nexa Light" panose="02000000000000000000" pitchFamily="50" charset="0"/>
                </a:rPr>
                <a:t>Kafaa</a:t>
              </a:r>
              <a:r>
                <a:rPr lang="en-US" sz="1600" dirty="0">
                  <a:latin typeface="Nexa Light" panose="02000000000000000000" pitchFamily="50" charset="0"/>
                </a:rPr>
                <a:t> is very open about this creativity. Also, they use filled icon.</a:t>
              </a:r>
              <a:endParaRPr lang="en-US" sz="1400" dirty="0">
                <a:latin typeface="Nexa Light" panose="020000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55697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CADE93-A638-1CAC-4E35-A7988B996A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8329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CADE93-A638-1CAC-4E35-A7988B996A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Oval 156">
            <a:extLst>
              <a:ext uri="{FF2B5EF4-FFF2-40B4-BE49-F238E27FC236}">
                <a16:creationId xmlns:a16="http://schemas.microsoft.com/office/drawing/2014/main" id="{7827B562-7ABF-3040-F495-2C6CFEB1B4F0}"/>
              </a:ext>
            </a:extLst>
          </p:cNvPr>
          <p:cNvSpPr/>
          <p:nvPr/>
        </p:nvSpPr>
        <p:spPr>
          <a:xfrm>
            <a:off x="8876112" y="3618134"/>
            <a:ext cx="542208" cy="54220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122375-FEB3-210E-CB47-EB3498146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350121"/>
            <a:ext cx="11506200" cy="683264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l" rtl="0"/>
            <a:r>
              <a:rPr lang="en-US" sz="4800" dirty="0">
                <a:solidFill>
                  <a:schemeClr val="tx2"/>
                </a:solidFill>
                <a:latin typeface="Nexa Bold" panose="02000000000000000000" pitchFamily="50" charset="0"/>
              </a:rPr>
              <a:t>Layout treatment develop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3614D5-14E7-6A09-48C4-D6E7A8E44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F5E4-35CF-4C29-B9F8-D683A03DA2A9}" type="slidenum">
              <a:rPr lang="id-ID" smtClean="0"/>
              <a:pPr/>
              <a:t>6</a:t>
            </a:fld>
            <a:endParaRPr lang="id-ID"/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B3CB132A-D824-E4F0-D901-2B9F3205DF79}"/>
              </a:ext>
            </a:extLst>
          </p:cNvPr>
          <p:cNvSpPr txBox="1">
            <a:spLocks/>
          </p:cNvSpPr>
          <p:nvPr/>
        </p:nvSpPr>
        <p:spPr>
          <a:xfrm>
            <a:off x="342900" y="1957643"/>
            <a:ext cx="3596733" cy="177894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algn="l" rtl="0"/>
            <a:r>
              <a:rPr lang="en-US" sz="1600" dirty="0" err="1">
                <a:latin typeface="Nexa Light" panose="02000000000000000000" pitchFamily="50" charset="0"/>
              </a:rPr>
              <a:t>Kafaa’s</a:t>
            </a:r>
            <a:r>
              <a:rPr lang="en-US" sz="1600" dirty="0">
                <a:latin typeface="Nexa Light" panose="02000000000000000000" pitchFamily="50" charset="0"/>
              </a:rPr>
              <a:t> layout treatment are vary and dynamic. They usually use breakdown layout that has very </a:t>
            </a:r>
            <a:r>
              <a:rPr lang="en-US" sz="1600" dirty="0">
                <a:latin typeface="Nexa Bold" panose="02000000000000000000" pitchFamily="50" charset="0"/>
              </a:rPr>
              <a:t>different perspective </a:t>
            </a:r>
            <a:r>
              <a:rPr lang="en-US" sz="1600" dirty="0">
                <a:latin typeface="Nexa Light" panose="02000000000000000000" pitchFamily="50" charset="0"/>
              </a:rPr>
              <a:t>from </a:t>
            </a:r>
            <a:br>
              <a:rPr lang="en-US" sz="1600" dirty="0">
                <a:latin typeface="Nexa Light" panose="02000000000000000000" pitchFamily="50" charset="0"/>
              </a:rPr>
            </a:br>
            <a:r>
              <a:rPr lang="en-US" sz="1600" dirty="0">
                <a:latin typeface="Nexa Light" panose="02000000000000000000" pitchFamily="50" charset="0"/>
              </a:rPr>
              <a:t>the original but </a:t>
            </a:r>
            <a:r>
              <a:rPr lang="en-US" sz="1600" dirty="0">
                <a:latin typeface="Nexa Bold" panose="02000000000000000000" pitchFamily="50" charset="0"/>
              </a:rPr>
              <a:t>still maintain its hierarchy. </a:t>
            </a:r>
          </a:p>
          <a:p>
            <a:pPr algn="l" rtl="0"/>
            <a:br>
              <a:rPr lang="en-US" sz="1600" dirty="0">
                <a:latin typeface="Nexa Light" panose="02000000000000000000" pitchFamily="50" charset="0"/>
              </a:rPr>
            </a:br>
            <a:r>
              <a:rPr lang="en-US" sz="1600" dirty="0">
                <a:latin typeface="Nexa Bold" panose="02000000000000000000" pitchFamily="50" charset="0"/>
              </a:rPr>
              <a:t>AND IT IS A MUST.</a:t>
            </a:r>
            <a:endParaRPr lang="en-US" sz="1400" dirty="0">
              <a:latin typeface="Nexa Bold" panose="02000000000000000000" pitchFamily="50" charset="0"/>
            </a:endParaRP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9D1C4907-3B82-DF62-351A-733803E4FDE8}"/>
              </a:ext>
            </a:extLst>
          </p:cNvPr>
          <p:cNvGrpSpPr/>
          <p:nvPr/>
        </p:nvGrpSpPr>
        <p:grpSpPr>
          <a:xfrm>
            <a:off x="342901" y="5244635"/>
            <a:ext cx="3596732" cy="423873"/>
            <a:chOff x="342901" y="5699134"/>
            <a:chExt cx="3596732" cy="423873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DD2CDBE1-8EB0-2E62-FF7C-1F4C3B68BA49}"/>
                </a:ext>
              </a:extLst>
            </p:cNvPr>
            <p:cNvSpPr/>
            <p:nvPr/>
          </p:nvSpPr>
          <p:spPr>
            <a:xfrm>
              <a:off x="342901" y="5699134"/>
              <a:ext cx="3596732" cy="423873"/>
            </a:xfrm>
            <a:prstGeom prst="roundRect">
              <a:avLst>
                <a:gd name="adj" fmla="val 23034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Title 5">
              <a:extLst>
                <a:ext uri="{FF2B5EF4-FFF2-40B4-BE49-F238E27FC236}">
                  <a16:creationId xmlns:a16="http://schemas.microsoft.com/office/drawing/2014/main" id="{1BA33AFF-0AD6-18D0-391C-CCD49D8AB0A8}"/>
                </a:ext>
              </a:extLst>
            </p:cNvPr>
            <p:cNvSpPr txBox="1">
              <a:spLocks/>
            </p:cNvSpPr>
            <p:nvPr/>
          </p:nvSpPr>
          <p:spPr>
            <a:xfrm>
              <a:off x="574549" y="5797193"/>
              <a:ext cx="2110778" cy="22775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r" defTabSz="914400" rtl="1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kern="1200">
                  <a:solidFill>
                    <a:schemeClr val="tx1"/>
                  </a:solidFill>
                  <a:latin typeface="HelveticaNeueLT Arabic 75 Bold" panose="020B0804020202020204" pitchFamily="34" charset="-78"/>
                  <a:ea typeface="+mj-ea"/>
                  <a:cs typeface="HelveticaNeueLT Arabic 75 Bold" panose="020B0804020202020204" pitchFamily="34" charset="-78"/>
                </a:defRPr>
              </a:lvl1pPr>
            </a:lstStyle>
            <a:p>
              <a:pPr algn="l" rtl="0"/>
              <a:r>
                <a:rPr lang="en-US" sz="1600" dirty="0">
                  <a:solidFill>
                    <a:schemeClr val="bg1"/>
                  </a:solidFill>
                  <a:latin typeface="Nexa Light" panose="02000000000000000000" pitchFamily="50" charset="0"/>
                </a:rPr>
                <a:t>Here’s some trick</a:t>
              </a:r>
              <a:endParaRPr lang="en-US" sz="1400" dirty="0">
                <a:solidFill>
                  <a:schemeClr val="bg1"/>
                </a:solidFill>
                <a:latin typeface="Nexa Bold" panose="02000000000000000000" pitchFamily="50" charset="0"/>
              </a:endParaRPr>
            </a:p>
          </p:txBody>
        </p:sp>
        <p:sp>
          <p:nvSpPr>
            <p:cNvPr id="21" name="Arrow: Right 20">
              <a:extLst>
                <a:ext uri="{FF2B5EF4-FFF2-40B4-BE49-F238E27FC236}">
                  <a16:creationId xmlns:a16="http://schemas.microsoft.com/office/drawing/2014/main" id="{D5E1D311-CCF9-BE15-1D4E-365C58F1B25E}"/>
                </a:ext>
              </a:extLst>
            </p:cNvPr>
            <p:cNvSpPr/>
            <p:nvPr/>
          </p:nvSpPr>
          <p:spPr>
            <a:xfrm>
              <a:off x="3495674" y="5794064"/>
              <a:ext cx="253365" cy="234012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66C85BF-CA9B-358B-96CD-78E00AB2F03E}"/>
              </a:ext>
            </a:extLst>
          </p:cNvPr>
          <p:cNvCxnSpPr>
            <a:cxnSpLocks/>
          </p:cNvCxnSpPr>
          <p:nvPr/>
        </p:nvCxnSpPr>
        <p:spPr>
          <a:xfrm flipV="1">
            <a:off x="8082737" y="1749552"/>
            <a:ext cx="0" cy="391895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C2C00F3-52B1-88A5-BDB9-21E273688ED2}"/>
              </a:ext>
            </a:extLst>
          </p:cNvPr>
          <p:cNvCxnSpPr>
            <a:cxnSpLocks/>
          </p:cNvCxnSpPr>
          <p:nvPr/>
        </p:nvCxnSpPr>
        <p:spPr>
          <a:xfrm flipV="1">
            <a:off x="4121757" y="1568949"/>
            <a:ext cx="0" cy="40995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0B8E74E-1C2E-E24F-F911-9C7D816A4244}"/>
              </a:ext>
            </a:extLst>
          </p:cNvPr>
          <p:cNvCxnSpPr>
            <a:cxnSpLocks/>
          </p:cNvCxnSpPr>
          <p:nvPr/>
        </p:nvCxnSpPr>
        <p:spPr>
          <a:xfrm>
            <a:off x="335280" y="1747777"/>
            <a:ext cx="1185672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7FA54F29-C59E-C62F-A10C-A903DD6B3C52}"/>
              </a:ext>
            </a:extLst>
          </p:cNvPr>
          <p:cNvSpPr/>
          <p:nvPr/>
        </p:nvSpPr>
        <p:spPr>
          <a:xfrm>
            <a:off x="4303881" y="1535840"/>
            <a:ext cx="3596732" cy="423873"/>
          </a:xfrm>
          <a:prstGeom prst="roundRect">
            <a:avLst>
              <a:gd name="adj" fmla="val 2303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Nexa Light" panose="02000000000000000000" pitchFamily="50" charset="0"/>
              </a:rPr>
              <a:t>Original layout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1C5CE287-63F9-1935-6EDF-9E646D731247}"/>
              </a:ext>
            </a:extLst>
          </p:cNvPr>
          <p:cNvSpPr/>
          <p:nvPr/>
        </p:nvSpPr>
        <p:spPr>
          <a:xfrm>
            <a:off x="4303881" y="2109968"/>
            <a:ext cx="1764713" cy="113538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F6AA9D7-8567-3B2F-A336-18A82D23D449}"/>
              </a:ext>
            </a:extLst>
          </p:cNvPr>
          <p:cNvSpPr/>
          <p:nvPr/>
        </p:nvSpPr>
        <p:spPr>
          <a:xfrm>
            <a:off x="6135900" y="2109968"/>
            <a:ext cx="1764713" cy="113538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30D12CB6-C149-F4AA-379A-D26152592034}"/>
              </a:ext>
            </a:extLst>
          </p:cNvPr>
          <p:cNvSpPr/>
          <p:nvPr/>
        </p:nvSpPr>
        <p:spPr>
          <a:xfrm>
            <a:off x="5847614" y="2167118"/>
            <a:ext cx="175260" cy="17526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1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B2C0CEF7-3983-D563-2FAD-63185BE609CD}"/>
              </a:ext>
            </a:extLst>
          </p:cNvPr>
          <p:cNvSpPr/>
          <p:nvPr/>
        </p:nvSpPr>
        <p:spPr>
          <a:xfrm>
            <a:off x="7679633" y="2167118"/>
            <a:ext cx="175260" cy="17526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2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822D8AE1-0F11-D6D7-DABA-CFC329511F47}"/>
              </a:ext>
            </a:extLst>
          </p:cNvPr>
          <p:cNvSpPr/>
          <p:nvPr/>
        </p:nvSpPr>
        <p:spPr>
          <a:xfrm>
            <a:off x="4303881" y="3321548"/>
            <a:ext cx="1764713" cy="113538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0881ABA-30F7-09AD-2491-AB5A638E56F7}"/>
              </a:ext>
            </a:extLst>
          </p:cNvPr>
          <p:cNvSpPr/>
          <p:nvPr/>
        </p:nvSpPr>
        <p:spPr>
          <a:xfrm>
            <a:off x="6135900" y="3321548"/>
            <a:ext cx="1764713" cy="113538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6B6CA743-118A-2FE3-0B5C-A6FFC13AB9E0}"/>
              </a:ext>
            </a:extLst>
          </p:cNvPr>
          <p:cNvSpPr/>
          <p:nvPr/>
        </p:nvSpPr>
        <p:spPr>
          <a:xfrm>
            <a:off x="5847614" y="3378698"/>
            <a:ext cx="175260" cy="17526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3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DB8E7DBC-455D-FF15-C52A-32A0A919879C}"/>
              </a:ext>
            </a:extLst>
          </p:cNvPr>
          <p:cNvSpPr/>
          <p:nvPr/>
        </p:nvSpPr>
        <p:spPr>
          <a:xfrm>
            <a:off x="7679633" y="3378698"/>
            <a:ext cx="175260" cy="17526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4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6A87F3D-668B-CD43-7890-B134EEA1BFAA}"/>
              </a:ext>
            </a:extLst>
          </p:cNvPr>
          <p:cNvSpPr/>
          <p:nvPr/>
        </p:nvSpPr>
        <p:spPr>
          <a:xfrm>
            <a:off x="4303881" y="4533128"/>
            <a:ext cx="1764713" cy="113538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E382348E-F631-F7D3-47EB-1E8475E4A706}"/>
              </a:ext>
            </a:extLst>
          </p:cNvPr>
          <p:cNvSpPr/>
          <p:nvPr/>
        </p:nvSpPr>
        <p:spPr>
          <a:xfrm>
            <a:off x="6135900" y="4533128"/>
            <a:ext cx="1764713" cy="113538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4738FF4F-C57E-FB44-C454-839F4CC84B9F}"/>
              </a:ext>
            </a:extLst>
          </p:cNvPr>
          <p:cNvSpPr/>
          <p:nvPr/>
        </p:nvSpPr>
        <p:spPr>
          <a:xfrm>
            <a:off x="5847614" y="4590278"/>
            <a:ext cx="175260" cy="17526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5</a:t>
            </a: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B8172223-4D9F-A4AC-4ECA-7CFEF7AEF0AE}"/>
              </a:ext>
            </a:extLst>
          </p:cNvPr>
          <p:cNvSpPr/>
          <p:nvPr/>
        </p:nvSpPr>
        <p:spPr>
          <a:xfrm>
            <a:off x="7679633" y="4590278"/>
            <a:ext cx="175260" cy="17526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6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C862BC9D-70A8-2CDE-B066-39B727F77DD1}"/>
              </a:ext>
            </a:extLst>
          </p:cNvPr>
          <p:cNvSpPr/>
          <p:nvPr/>
        </p:nvSpPr>
        <p:spPr>
          <a:xfrm>
            <a:off x="8264860" y="1535840"/>
            <a:ext cx="3596732" cy="423873"/>
          </a:xfrm>
          <a:prstGeom prst="roundRect">
            <a:avLst>
              <a:gd name="adj" fmla="val 23034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Nexa Light" panose="02000000000000000000" pitchFamily="50" charset="0"/>
              </a:rPr>
              <a:t>Adjusted layout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4D88677F-74C7-1A3D-6347-DCF210A22793}"/>
              </a:ext>
            </a:extLst>
          </p:cNvPr>
          <p:cNvSpPr/>
          <p:nvPr/>
        </p:nvSpPr>
        <p:spPr>
          <a:xfrm>
            <a:off x="8264860" y="2109968"/>
            <a:ext cx="1764713" cy="113538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A6A0E4D9-E435-0841-4CD4-85C3EFD51061}"/>
              </a:ext>
            </a:extLst>
          </p:cNvPr>
          <p:cNvSpPr/>
          <p:nvPr/>
        </p:nvSpPr>
        <p:spPr>
          <a:xfrm>
            <a:off x="10096879" y="2109968"/>
            <a:ext cx="1764713" cy="113538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A925E729-D1F4-C6B3-34CF-7F781D96B037}"/>
              </a:ext>
            </a:extLst>
          </p:cNvPr>
          <p:cNvSpPr/>
          <p:nvPr/>
        </p:nvSpPr>
        <p:spPr>
          <a:xfrm>
            <a:off x="9808593" y="2167118"/>
            <a:ext cx="175260" cy="17526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latin typeface="Nexa Bold" panose="02000000000000000000" pitchFamily="50" charset="0"/>
              </a:rPr>
              <a:t>1</a:t>
            </a: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DCE110D3-7254-EC45-0D2C-0A3C87525F33}"/>
              </a:ext>
            </a:extLst>
          </p:cNvPr>
          <p:cNvSpPr/>
          <p:nvPr/>
        </p:nvSpPr>
        <p:spPr>
          <a:xfrm>
            <a:off x="11640612" y="2167118"/>
            <a:ext cx="175260" cy="17526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latin typeface="Nexa Bold" panose="02000000000000000000" pitchFamily="50" charset="0"/>
              </a:rPr>
              <a:t>2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2935DFF4-9636-4E99-A3AA-8E433F0D0200}"/>
              </a:ext>
            </a:extLst>
          </p:cNvPr>
          <p:cNvSpPr/>
          <p:nvPr/>
        </p:nvSpPr>
        <p:spPr>
          <a:xfrm>
            <a:off x="8264860" y="3321548"/>
            <a:ext cx="1764713" cy="113538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5330368B-7B44-10CD-23AA-878AF5048B1B}"/>
              </a:ext>
            </a:extLst>
          </p:cNvPr>
          <p:cNvSpPr/>
          <p:nvPr/>
        </p:nvSpPr>
        <p:spPr>
          <a:xfrm>
            <a:off x="10096879" y="3321548"/>
            <a:ext cx="1764713" cy="113538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AE22235F-1F66-6428-20FE-D3E57E0AEBBB}"/>
              </a:ext>
            </a:extLst>
          </p:cNvPr>
          <p:cNvSpPr/>
          <p:nvPr/>
        </p:nvSpPr>
        <p:spPr>
          <a:xfrm>
            <a:off x="9808593" y="3378698"/>
            <a:ext cx="175260" cy="17526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latin typeface="Nexa Bold" panose="02000000000000000000" pitchFamily="50" charset="0"/>
              </a:rPr>
              <a:t>3</a:t>
            </a: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07CF9870-F039-3266-1236-0F8B5F81884D}"/>
              </a:ext>
            </a:extLst>
          </p:cNvPr>
          <p:cNvSpPr/>
          <p:nvPr/>
        </p:nvSpPr>
        <p:spPr>
          <a:xfrm>
            <a:off x="11640612" y="3378698"/>
            <a:ext cx="175260" cy="17526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latin typeface="Nexa Bold" panose="02000000000000000000" pitchFamily="50" charset="0"/>
              </a:rPr>
              <a:t>4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6BBC0AAF-0F7F-3730-39BD-7E46392A673D}"/>
              </a:ext>
            </a:extLst>
          </p:cNvPr>
          <p:cNvSpPr/>
          <p:nvPr/>
        </p:nvSpPr>
        <p:spPr>
          <a:xfrm>
            <a:off x="8264860" y="4533128"/>
            <a:ext cx="1764713" cy="113538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D615344C-E960-A690-E9B0-312204C66F41}"/>
              </a:ext>
            </a:extLst>
          </p:cNvPr>
          <p:cNvSpPr/>
          <p:nvPr/>
        </p:nvSpPr>
        <p:spPr>
          <a:xfrm>
            <a:off x="10096879" y="4533128"/>
            <a:ext cx="1764713" cy="113538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1E6BCB60-114E-5328-8B88-4EBE949397C5}"/>
              </a:ext>
            </a:extLst>
          </p:cNvPr>
          <p:cNvSpPr/>
          <p:nvPr/>
        </p:nvSpPr>
        <p:spPr>
          <a:xfrm>
            <a:off x="9808593" y="4590278"/>
            <a:ext cx="175260" cy="17526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latin typeface="Nexa Bold" panose="02000000000000000000" pitchFamily="50" charset="0"/>
              </a:rPr>
              <a:t>5</a:t>
            </a: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DE28A20C-E891-02EA-7D13-2AF7D263F746}"/>
              </a:ext>
            </a:extLst>
          </p:cNvPr>
          <p:cNvSpPr/>
          <p:nvPr/>
        </p:nvSpPr>
        <p:spPr>
          <a:xfrm>
            <a:off x="11640612" y="4590278"/>
            <a:ext cx="175260" cy="17526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latin typeface="Nexa Bold" panose="02000000000000000000" pitchFamily="50" charset="0"/>
              </a:rPr>
              <a:t>6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F8506E3D-1B9F-E561-53F5-115505A63223}"/>
              </a:ext>
            </a:extLst>
          </p:cNvPr>
          <p:cNvSpPr/>
          <p:nvPr/>
        </p:nvSpPr>
        <p:spPr>
          <a:xfrm>
            <a:off x="4437888" y="2443734"/>
            <a:ext cx="1542288" cy="121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A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1137E992-DAC0-7329-14E6-1E022452CFCC}"/>
              </a:ext>
            </a:extLst>
          </p:cNvPr>
          <p:cNvSpPr/>
          <p:nvPr/>
        </p:nvSpPr>
        <p:spPr>
          <a:xfrm>
            <a:off x="4437888" y="2589470"/>
            <a:ext cx="1542288" cy="121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B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71B9B3A3-6382-CE1E-148F-F63D69DF37AD}"/>
              </a:ext>
            </a:extLst>
          </p:cNvPr>
          <p:cNvSpPr/>
          <p:nvPr/>
        </p:nvSpPr>
        <p:spPr>
          <a:xfrm>
            <a:off x="4437888" y="2735206"/>
            <a:ext cx="1542288" cy="121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C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5EC82446-31D8-5058-8EAB-A1F82519A9FF}"/>
              </a:ext>
            </a:extLst>
          </p:cNvPr>
          <p:cNvSpPr/>
          <p:nvPr/>
        </p:nvSpPr>
        <p:spPr>
          <a:xfrm>
            <a:off x="4437888" y="2880942"/>
            <a:ext cx="1542288" cy="121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D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DB19CD28-D27C-68F2-3F7A-5EA7B9073FBB}"/>
              </a:ext>
            </a:extLst>
          </p:cNvPr>
          <p:cNvSpPr/>
          <p:nvPr/>
        </p:nvSpPr>
        <p:spPr>
          <a:xfrm>
            <a:off x="4437888" y="3026678"/>
            <a:ext cx="1542288" cy="121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E</a:t>
            </a:r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C6422B89-CDC4-7945-E5FB-3792C71DFDE4}"/>
              </a:ext>
            </a:extLst>
          </p:cNvPr>
          <p:cNvGrpSpPr/>
          <p:nvPr/>
        </p:nvGrpSpPr>
        <p:grpSpPr>
          <a:xfrm>
            <a:off x="8343326" y="2443734"/>
            <a:ext cx="1607781" cy="704864"/>
            <a:chOff x="8376072" y="2443734"/>
            <a:chExt cx="1478280" cy="704864"/>
          </a:xfrm>
        </p:grpSpPr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E936BFF3-376D-E843-BC24-15C180207CD2}"/>
                </a:ext>
              </a:extLst>
            </p:cNvPr>
            <p:cNvSpPr/>
            <p:nvPr/>
          </p:nvSpPr>
          <p:spPr>
            <a:xfrm>
              <a:off x="8376072" y="2443734"/>
              <a:ext cx="282788" cy="7048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A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C35A1BA-67BD-06BF-2A94-A05629C8098F}"/>
                </a:ext>
              </a:extLst>
            </p:cNvPr>
            <p:cNvSpPr/>
            <p:nvPr/>
          </p:nvSpPr>
          <p:spPr>
            <a:xfrm>
              <a:off x="8674945" y="2443734"/>
              <a:ext cx="282788" cy="7048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B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26B566A9-1196-1DF6-D305-2B83CC35409B}"/>
                </a:ext>
              </a:extLst>
            </p:cNvPr>
            <p:cNvSpPr/>
            <p:nvPr/>
          </p:nvSpPr>
          <p:spPr>
            <a:xfrm>
              <a:off x="8973818" y="2443734"/>
              <a:ext cx="282788" cy="7048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C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25FB4323-1E9B-193E-6663-FEF47C59F635}"/>
                </a:ext>
              </a:extLst>
            </p:cNvPr>
            <p:cNvSpPr/>
            <p:nvPr/>
          </p:nvSpPr>
          <p:spPr>
            <a:xfrm>
              <a:off x="9272691" y="2443734"/>
              <a:ext cx="282788" cy="7048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D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F4338247-0BCA-726E-731F-5CAC5BDB9A32}"/>
                </a:ext>
              </a:extLst>
            </p:cNvPr>
            <p:cNvSpPr/>
            <p:nvPr/>
          </p:nvSpPr>
          <p:spPr>
            <a:xfrm>
              <a:off x="9571564" y="2443734"/>
              <a:ext cx="282788" cy="7048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E</a:t>
              </a: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68F42F16-DB7B-C21A-2FD1-BFCB464A0851}"/>
              </a:ext>
            </a:extLst>
          </p:cNvPr>
          <p:cNvGrpSpPr/>
          <p:nvPr/>
        </p:nvGrpSpPr>
        <p:grpSpPr>
          <a:xfrm>
            <a:off x="6214366" y="2443734"/>
            <a:ext cx="1607781" cy="192786"/>
            <a:chOff x="8376072" y="2443734"/>
            <a:chExt cx="1478280" cy="704864"/>
          </a:xfrm>
        </p:grpSpPr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168A792C-558C-E8E2-DD97-DDB98F6FD22F}"/>
                </a:ext>
              </a:extLst>
            </p:cNvPr>
            <p:cNvSpPr/>
            <p:nvPr/>
          </p:nvSpPr>
          <p:spPr>
            <a:xfrm>
              <a:off x="8376072" y="2443734"/>
              <a:ext cx="282788" cy="7048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A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ED1D3587-1D41-6F4D-D37D-9A2DB6F8E708}"/>
                </a:ext>
              </a:extLst>
            </p:cNvPr>
            <p:cNvSpPr/>
            <p:nvPr/>
          </p:nvSpPr>
          <p:spPr>
            <a:xfrm>
              <a:off x="8674945" y="2443734"/>
              <a:ext cx="282788" cy="7048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B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02DBD3E0-326C-B703-1F74-3FA23676E029}"/>
                </a:ext>
              </a:extLst>
            </p:cNvPr>
            <p:cNvSpPr/>
            <p:nvPr/>
          </p:nvSpPr>
          <p:spPr>
            <a:xfrm>
              <a:off x="8973818" y="2443734"/>
              <a:ext cx="282788" cy="7048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C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E4B43A24-BA0D-BD70-17F7-87808E33F0AB}"/>
                </a:ext>
              </a:extLst>
            </p:cNvPr>
            <p:cNvSpPr/>
            <p:nvPr/>
          </p:nvSpPr>
          <p:spPr>
            <a:xfrm>
              <a:off x="9272691" y="2443734"/>
              <a:ext cx="282788" cy="7048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D</a:t>
              </a: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481DB239-3F14-8176-EAB6-FEBB3D863D8D}"/>
                </a:ext>
              </a:extLst>
            </p:cNvPr>
            <p:cNvSpPr/>
            <p:nvPr/>
          </p:nvSpPr>
          <p:spPr>
            <a:xfrm>
              <a:off x="9571564" y="2443734"/>
              <a:ext cx="282788" cy="7048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E</a:t>
              </a: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80B925C2-3728-B367-2712-550272A0E8CB}"/>
              </a:ext>
            </a:extLst>
          </p:cNvPr>
          <p:cNvGrpSpPr/>
          <p:nvPr/>
        </p:nvGrpSpPr>
        <p:grpSpPr>
          <a:xfrm>
            <a:off x="6214366" y="2654554"/>
            <a:ext cx="1607781" cy="494044"/>
            <a:chOff x="8376072" y="2443734"/>
            <a:chExt cx="1478280" cy="704864"/>
          </a:xfrm>
          <a:solidFill>
            <a:schemeClr val="bg1">
              <a:lumMod val="95000"/>
            </a:schemeClr>
          </a:solidFill>
        </p:grpSpPr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D40D63FA-FB0C-D80F-AA9C-D65841730998}"/>
                </a:ext>
              </a:extLst>
            </p:cNvPr>
            <p:cNvSpPr/>
            <p:nvPr/>
          </p:nvSpPr>
          <p:spPr>
            <a:xfrm>
              <a:off x="8376072" y="2443734"/>
              <a:ext cx="282788" cy="7048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Nexa Bold" panose="02000000000000000000" pitchFamily="50" charset="0"/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E3A8C02D-D2E9-7A23-D93F-8EE4980ACD1C}"/>
                </a:ext>
              </a:extLst>
            </p:cNvPr>
            <p:cNvSpPr/>
            <p:nvPr/>
          </p:nvSpPr>
          <p:spPr>
            <a:xfrm>
              <a:off x="8674945" y="2443734"/>
              <a:ext cx="282788" cy="7048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Nexa Bold" panose="02000000000000000000" pitchFamily="50" charset="0"/>
              </a:endParaRP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DA101611-71CB-214D-EB38-ED229345AA4D}"/>
                </a:ext>
              </a:extLst>
            </p:cNvPr>
            <p:cNvSpPr/>
            <p:nvPr/>
          </p:nvSpPr>
          <p:spPr>
            <a:xfrm>
              <a:off x="8973818" y="2443734"/>
              <a:ext cx="282788" cy="7048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Nexa Bold" panose="02000000000000000000" pitchFamily="50" charset="0"/>
              </a:endParaRP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D4F68758-54B1-DA88-A9DF-93BD654C3863}"/>
                </a:ext>
              </a:extLst>
            </p:cNvPr>
            <p:cNvSpPr/>
            <p:nvPr/>
          </p:nvSpPr>
          <p:spPr>
            <a:xfrm>
              <a:off x="9272691" y="2443734"/>
              <a:ext cx="282788" cy="7048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Nexa Bold" panose="02000000000000000000" pitchFamily="50" charset="0"/>
              </a:endParaRP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902D95F4-8CA0-EFD6-CCC0-4AE6BD20888E}"/>
                </a:ext>
              </a:extLst>
            </p:cNvPr>
            <p:cNvSpPr/>
            <p:nvPr/>
          </p:nvSpPr>
          <p:spPr>
            <a:xfrm>
              <a:off x="9571564" y="2443734"/>
              <a:ext cx="282788" cy="7048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Nexa Bold" panose="02000000000000000000" pitchFamily="50" charset="0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0A7B5BFE-27CE-E343-CE62-28931AFC8EEE}"/>
              </a:ext>
            </a:extLst>
          </p:cNvPr>
          <p:cNvGrpSpPr/>
          <p:nvPr/>
        </p:nvGrpSpPr>
        <p:grpSpPr>
          <a:xfrm>
            <a:off x="11508311" y="2443734"/>
            <a:ext cx="307561" cy="704864"/>
            <a:chOff x="11508311" y="2443734"/>
            <a:chExt cx="307561" cy="602361"/>
          </a:xfrm>
        </p:grpSpPr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7A0F4DF8-2B46-23E7-7E20-711FADEC3827}"/>
                </a:ext>
              </a:extLst>
            </p:cNvPr>
            <p:cNvSpPr/>
            <p:nvPr/>
          </p:nvSpPr>
          <p:spPr>
            <a:xfrm>
              <a:off x="11508311" y="2443734"/>
              <a:ext cx="307561" cy="11341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A</a:t>
              </a:r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1DAFD5F5-FB71-C571-653C-54D899F84011}"/>
                </a:ext>
              </a:extLst>
            </p:cNvPr>
            <p:cNvSpPr/>
            <p:nvPr/>
          </p:nvSpPr>
          <p:spPr>
            <a:xfrm>
              <a:off x="11508311" y="2565972"/>
              <a:ext cx="307561" cy="11341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B</a:t>
              </a: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795D8C5A-3125-8B32-8BC3-DDB7C8453361}"/>
                </a:ext>
              </a:extLst>
            </p:cNvPr>
            <p:cNvSpPr/>
            <p:nvPr/>
          </p:nvSpPr>
          <p:spPr>
            <a:xfrm>
              <a:off x="11508311" y="2688210"/>
              <a:ext cx="307561" cy="11341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C</a:t>
              </a: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405584ED-3A05-B12A-CB73-8BD934EFF296}"/>
                </a:ext>
              </a:extLst>
            </p:cNvPr>
            <p:cNvSpPr/>
            <p:nvPr/>
          </p:nvSpPr>
          <p:spPr>
            <a:xfrm>
              <a:off x="11508311" y="2810448"/>
              <a:ext cx="307561" cy="11341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D</a:t>
              </a: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559E092C-ABFB-53E4-FE04-878833CB9A5D}"/>
                </a:ext>
              </a:extLst>
            </p:cNvPr>
            <p:cNvSpPr/>
            <p:nvPr/>
          </p:nvSpPr>
          <p:spPr>
            <a:xfrm>
              <a:off x="11508311" y="2932684"/>
              <a:ext cx="307561" cy="11341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E</a:t>
              </a:r>
            </a:p>
          </p:txBody>
        </p: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96DA9312-0B53-DB90-95D1-FBAD469EB5F5}"/>
              </a:ext>
            </a:extLst>
          </p:cNvPr>
          <p:cNvGrpSpPr/>
          <p:nvPr/>
        </p:nvGrpSpPr>
        <p:grpSpPr>
          <a:xfrm>
            <a:off x="10211695" y="2443734"/>
            <a:ext cx="1284137" cy="704864"/>
            <a:chOff x="11508311" y="2443734"/>
            <a:chExt cx="307561" cy="602361"/>
          </a:xfrm>
          <a:solidFill>
            <a:schemeClr val="bg1">
              <a:lumMod val="95000"/>
            </a:schemeClr>
          </a:solidFill>
        </p:grpSpPr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5723DAD5-9642-6011-A057-7CE1A2561400}"/>
                </a:ext>
              </a:extLst>
            </p:cNvPr>
            <p:cNvSpPr/>
            <p:nvPr/>
          </p:nvSpPr>
          <p:spPr>
            <a:xfrm>
              <a:off x="11508311" y="2443734"/>
              <a:ext cx="307561" cy="1134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Nexa Bold" panose="02000000000000000000" pitchFamily="50" charset="0"/>
              </a:endParaRP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72F578E5-B8FE-0B18-3A17-DA41A080D68D}"/>
                </a:ext>
              </a:extLst>
            </p:cNvPr>
            <p:cNvSpPr/>
            <p:nvPr/>
          </p:nvSpPr>
          <p:spPr>
            <a:xfrm>
              <a:off x="11508311" y="2565972"/>
              <a:ext cx="307561" cy="1134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Nexa Bold" panose="02000000000000000000" pitchFamily="50" charset="0"/>
              </a:endParaRP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0736AD87-5A09-7F06-EF52-590506931217}"/>
                </a:ext>
              </a:extLst>
            </p:cNvPr>
            <p:cNvSpPr/>
            <p:nvPr/>
          </p:nvSpPr>
          <p:spPr>
            <a:xfrm>
              <a:off x="11508311" y="2688210"/>
              <a:ext cx="307561" cy="1134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Nexa Bold" panose="02000000000000000000" pitchFamily="50" charset="0"/>
              </a:endParaRP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E86B4607-7D43-2ACC-4CB3-7A0752272F3F}"/>
                </a:ext>
              </a:extLst>
            </p:cNvPr>
            <p:cNvSpPr/>
            <p:nvPr/>
          </p:nvSpPr>
          <p:spPr>
            <a:xfrm>
              <a:off x="11508311" y="2810448"/>
              <a:ext cx="307561" cy="1134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Nexa Bold" panose="02000000000000000000" pitchFamily="50" charset="0"/>
              </a:endParaRP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3D59200F-238A-C953-DF3A-2BB60DFB817A}"/>
                </a:ext>
              </a:extLst>
            </p:cNvPr>
            <p:cNvSpPr/>
            <p:nvPr/>
          </p:nvSpPr>
          <p:spPr>
            <a:xfrm>
              <a:off x="11508311" y="2932684"/>
              <a:ext cx="307561" cy="1134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Nexa Bold" panose="02000000000000000000" pitchFamily="50" charset="0"/>
              </a:endParaRPr>
            </a:p>
          </p:txBody>
        </p:sp>
      </p:grp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27B49297-4952-E608-4007-FE725E21EB35}"/>
              </a:ext>
            </a:extLst>
          </p:cNvPr>
          <p:cNvCxnSpPr>
            <a:stCxn id="148" idx="3"/>
            <a:endCxn id="152" idx="1"/>
          </p:cNvCxnSpPr>
          <p:nvPr/>
        </p:nvCxnSpPr>
        <p:spPr>
          <a:xfrm>
            <a:off x="4638903" y="3912098"/>
            <a:ext cx="114025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D15A159A-D267-4CD4-8E7A-BD0C3F168FFA}"/>
              </a:ext>
            </a:extLst>
          </p:cNvPr>
          <p:cNvGrpSpPr/>
          <p:nvPr/>
        </p:nvGrpSpPr>
        <p:grpSpPr>
          <a:xfrm>
            <a:off x="4437888" y="3755534"/>
            <a:ext cx="1542288" cy="313128"/>
            <a:chOff x="4494238" y="3844852"/>
            <a:chExt cx="1495082" cy="313128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072E3AA6-9F0C-5449-A284-934EECF562A2}"/>
                </a:ext>
              </a:extLst>
            </p:cNvPr>
            <p:cNvSpPr/>
            <p:nvPr/>
          </p:nvSpPr>
          <p:spPr>
            <a:xfrm>
              <a:off x="4494238" y="3844852"/>
              <a:ext cx="194862" cy="31312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A</a:t>
              </a: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AB424695-F6CD-A868-9471-E21FB18992D7}"/>
                </a:ext>
              </a:extLst>
            </p:cNvPr>
            <p:cNvSpPr/>
            <p:nvPr/>
          </p:nvSpPr>
          <p:spPr>
            <a:xfrm>
              <a:off x="4819293" y="3844852"/>
              <a:ext cx="194862" cy="31312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B</a:t>
              </a: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671168F7-A2E6-D5C6-1B40-236D9C044251}"/>
                </a:ext>
              </a:extLst>
            </p:cNvPr>
            <p:cNvSpPr/>
            <p:nvPr/>
          </p:nvSpPr>
          <p:spPr>
            <a:xfrm>
              <a:off x="5144348" y="3844852"/>
              <a:ext cx="194862" cy="31312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C</a:t>
              </a:r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5984AFA5-5006-154C-62E7-7006A36C4315}"/>
                </a:ext>
              </a:extLst>
            </p:cNvPr>
            <p:cNvSpPr/>
            <p:nvPr/>
          </p:nvSpPr>
          <p:spPr>
            <a:xfrm>
              <a:off x="5469403" y="3844852"/>
              <a:ext cx="194862" cy="31312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D</a:t>
              </a: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CA232E51-1A1E-8408-53E8-F5A5BD9059D6}"/>
                </a:ext>
              </a:extLst>
            </p:cNvPr>
            <p:cNvSpPr/>
            <p:nvPr/>
          </p:nvSpPr>
          <p:spPr>
            <a:xfrm>
              <a:off x="5794458" y="3844852"/>
              <a:ext cx="194862" cy="31312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E</a:t>
              </a:r>
            </a:p>
          </p:txBody>
        </p:sp>
      </p:grpSp>
      <p:sp>
        <p:nvSpPr>
          <p:cNvPr id="156" name="Oval 155">
            <a:extLst>
              <a:ext uri="{FF2B5EF4-FFF2-40B4-BE49-F238E27FC236}">
                <a16:creationId xmlns:a16="http://schemas.microsoft.com/office/drawing/2014/main" id="{ACAAC627-4253-6BE9-99DB-F0C5013D931F}"/>
              </a:ext>
            </a:extLst>
          </p:cNvPr>
          <p:cNvSpPr/>
          <p:nvPr/>
        </p:nvSpPr>
        <p:spPr>
          <a:xfrm>
            <a:off x="9021486" y="3763508"/>
            <a:ext cx="251460" cy="2514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146FA324-FA54-CFDF-18F3-2020F3E0F66F}"/>
              </a:ext>
            </a:extLst>
          </p:cNvPr>
          <p:cNvSpPr/>
          <p:nvPr/>
        </p:nvSpPr>
        <p:spPr>
          <a:xfrm>
            <a:off x="9051368" y="3522213"/>
            <a:ext cx="191696" cy="19169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latin typeface="Nexa Bold" panose="02000000000000000000" pitchFamily="50" charset="0"/>
              </a:rPr>
              <a:t>A</a:t>
            </a:r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AE944C6F-933A-F77E-AABF-692D6F3CA7C6}"/>
              </a:ext>
            </a:extLst>
          </p:cNvPr>
          <p:cNvSpPr/>
          <p:nvPr/>
        </p:nvSpPr>
        <p:spPr>
          <a:xfrm>
            <a:off x="8794796" y="3751327"/>
            <a:ext cx="191696" cy="19169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latin typeface="Nexa Bold" panose="02000000000000000000" pitchFamily="50" charset="0"/>
              </a:rPr>
              <a:t>E</a:t>
            </a: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DA4A7293-E6DA-A6A9-B4BD-C2DC60122BF8}"/>
              </a:ext>
            </a:extLst>
          </p:cNvPr>
          <p:cNvSpPr/>
          <p:nvPr/>
        </p:nvSpPr>
        <p:spPr>
          <a:xfrm>
            <a:off x="9310316" y="3751327"/>
            <a:ext cx="191696" cy="19169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latin typeface="Nexa Bold" panose="02000000000000000000" pitchFamily="50" charset="0"/>
              </a:rPr>
              <a:t>B</a:t>
            </a:r>
          </a:p>
        </p:txBody>
      </p: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FF2E9E94-D45D-084A-E658-852615F4FA18}"/>
              </a:ext>
            </a:extLst>
          </p:cNvPr>
          <p:cNvGrpSpPr/>
          <p:nvPr/>
        </p:nvGrpSpPr>
        <p:grpSpPr>
          <a:xfrm>
            <a:off x="8919785" y="4039543"/>
            <a:ext cx="454863" cy="191696"/>
            <a:chOff x="8891985" y="4019223"/>
            <a:chExt cx="454863" cy="191696"/>
          </a:xfrm>
        </p:grpSpPr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CC2E551B-2602-D84A-94FA-045A50498FBC}"/>
                </a:ext>
              </a:extLst>
            </p:cNvPr>
            <p:cNvSpPr/>
            <p:nvPr/>
          </p:nvSpPr>
          <p:spPr>
            <a:xfrm>
              <a:off x="8891985" y="4019223"/>
              <a:ext cx="191696" cy="19169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Nexa Bold" panose="02000000000000000000" pitchFamily="50" charset="0"/>
                </a:rPr>
                <a:t>D</a:t>
              </a:r>
            </a:p>
          </p:txBody>
        </p: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23A3E78B-F466-0943-E715-D62D5B04F195}"/>
                </a:ext>
              </a:extLst>
            </p:cNvPr>
            <p:cNvSpPr/>
            <p:nvPr/>
          </p:nvSpPr>
          <p:spPr>
            <a:xfrm>
              <a:off x="9155152" y="4019223"/>
              <a:ext cx="191696" cy="19169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Nexa Bold" panose="02000000000000000000" pitchFamily="50" charset="0"/>
                </a:rPr>
                <a:t>C</a:t>
              </a:r>
            </a:p>
          </p:txBody>
        </p:sp>
      </p:grpSp>
      <p:sp>
        <p:nvSpPr>
          <p:cNvPr id="171" name="Rectangle 170">
            <a:extLst>
              <a:ext uri="{FF2B5EF4-FFF2-40B4-BE49-F238E27FC236}">
                <a16:creationId xmlns:a16="http://schemas.microsoft.com/office/drawing/2014/main" id="{2A7681F4-4C47-32E5-ABCB-4E93B2E9AB7C}"/>
              </a:ext>
            </a:extLst>
          </p:cNvPr>
          <p:cNvSpPr/>
          <p:nvPr/>
        </p:nvSpPr>
        <p:spPr>
          <a:xfrm>
            <a:off x="6247112" y="3755534"/>
            <a:ext cx="201015" cy="3131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A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CAE3A370-562D-34CC-8970-3AB69BA1C19A}"/>
              </a:ext>
            </a:extLst>
          </p:cNvPr>
          <p:cNvSpPr/>
          <p:nvPr/>
        </p:nvSpPr>
        <p:spPr>
          <a:xfrm>
            <a:off x="6582430" y="3755534"/>
            <a:ext cx="201015" cy="3131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B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4AE7580C-E97B-EB25-A738-05E88951ACE6}"/>
              </a:ext>
            </a:extLst>
          </p:cNvPr>
          <p:cNvSpPr/>
          <p:nvPr/>
        </p:nvSpPr>
        <p:spPr>
          <a:xfrm>
            <a:off x="6917749" y="3755534"/>
            <a:ext cx="201015" cy="3131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C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50C5EF40-577D-88F7-26B3-5CA4FB74AF15}"/>
              </a:ext>
            </a:extLst>
          </p:cNvPr>
          <p:cNvSpPr/>
          <p:nvPr/>
        </p:nvSpPr>
        <p:spPr>
          <a:xfrm>
            <a:off x="7253067" y="3755534"/>
            <a:ext cx="201015" cy="3131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D</a:t>
            </a: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EC14C3F7-6F95-9A3B-73E4-701F206E6FC7}"/>
              </a:ext>
            </a:extLst>
          </p:cNvPr>
          <p:cNvSpPr/>
          <p:nvPr/>
        </p:nvSpPr>
        <p:spPr>
          <a:xfrm>
            <a:off x="7588385" y="3755534"/>
            <a:ext cx="201015" cy="3131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E</a:t>
            </a:r>
          </a:p>
        </p:txBody>
      </p:sp>
      <p:sp>
        <p:nvSpPr>
          <p:cNvPr id="176" name="Isosceles Triangle 175">
            <a:extLst>
              <a:ext uri="{FF2B5EF4-FFF2-40B4-BE49-F238E27FC236}">
                <a16:creationId xmlns:a16="http://schemas.microsoft.com/office/drawing/2014/main" id="{287356D7-A54B-D33E-FC7E-9DA566E1888A}"/>
              </a:ext>
            </a:extLst>
          </p:cNvPr>
          <p:cNvSpPr/>
          <p:nvPr/>
        </p:nvSpPr>
        <p:spPr>
          <a:xfrm rot="5400000">
            <a:off x="6424835" y="3888975"/>
            <a:ext cx="88392" cy="46247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7" name="Isosceles Triangle 176">
            <a:extLst>
              <a:ext uri="{FF2B5EF4-FFF2-40B4-BE49-F238E27FC236}">
                <a16:creationId xmlns:a16="http://schemas.microsoft.com/office/drawing/2014/main" id="{F4845643-D851-0713-7AAF-27B7685D768E}"/>
              </a:ext>
            </a:extLst>
          </p:cNvPr>
          <p:cNvSpPr/>
          <p:nvPr/>
        </p:nvSpPr>
        <p:spPr>
          <a:xfrm rot="5400000">
            <a:off x="6760153" y="3888976"/>
            <a:ext cx="88392" cy="46247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8" name="Isosceles Triangle 177">
            <a:extLst>
              <a:ext uri="{FF2B5EF4-FFF2-40B4-BE49-F238E27FC236}">
                <a16:creationId xmlns:a16="http://schemas.microsoft.com/office/drawing/2014/main" id="{70DA7539-A611-0529-0AB2-F8D9AD673847}"/>
              </a:ext>
            </a:extLst>
          </p:cNvPr>
          <p:cNvSpPr/>
          <p:nvPr/>
        </p:nvSpPr>
        <p:spPr>
          <a:xfrm rot="5400000">
            <a:off x="7097691" y="3888976"/>
            <a:ext cx="88392" cy="46247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Isosceles Triangle 178">
            <a:extLst>
              <a:ext uri="{FF2B5EF4-FFF2-40B4-BE49-F238E27FC236}">
                <a16:creationId xmlns:a16="http://schemas.microsoft.com/office/drawing/2014/main" id="{D7F650C2-04E9-6DBE-5ADE-DA6182D08882}"/>
              </a:ext>
            </a:extLst>
          </p:cNvPr>
          <p:cNvSpPr/>
          <p:nvPr/>
        </p:nvSpPr>
        <p:spPr>
          <a:xfrm rot="5400000">
            <a:off x="7433009" y="3888977"/>
            <a:ext cx="88392" cy="46247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0" name="Arc 179">
            <a:extLst>
              <a:ext uri="{FF2B5EF4-FFF2-40B4-BE49-F238E27FC236}">
                <a16:creationId xmlns:a16="http://schemas.microsoft.com/office/drawing/2014/main" id="{BB160E9E-8190-4D07-192A-094297F52F42}"/>
              </a:ext>
            </a:extLst>
          </p:cNvPr>
          <p:cNvSpPr/>
          <p:nvPr/>
        </p:nvSpPr>
        <p:spPr>
          <a:xfrm>
            <a:off x="10206253" y="3768868"/>
            <a:ext cx="310044" cy="310044"/>
          </a:xfrm>
          <a:prstGeom prst="arc">
            <a:avLst>
              <a:gd name="adj1" fmla="val 11015898"/>
              <a:gd name="adj2" fmla="val 20996666"/>
            </a:avLst>
          </a:prstGeom>
          <a:ln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1" name="Arc 180">
            <a:extLst>
              <a:ext uri="{FF2B5EF4-FFF2-40B4-BE49-F238E27FC236}">
                <a16:creationId xmlns:a16="http://schemas.microsoft.com/office/drawing/2014/main" id="{0EA1577B-9E23-5795-C655-09AEB6EED6B2}"/>
              </a:ext>
            </a:extLst>
          </p:cNvPr>
          <p:cNvSpPr/>
          <p:nvPr/>
        </p:nvSpPr>
        <p:spPr>
          <a:xfrm flipV="1">
            <a:off x="10516297" y="3768868"/>
            <a:ext cx="310044" cy="310044"/>
          </a:xfrm>
          <a:prstGeom prst="arc">
            <a:avLst>
              <a:gd name="adj1" fmla="val 11015898"/>
              <a:gd name="adj2" fmla="val 20878535"/>
            </a:avLst>
          </a:prstGeom>
          <a:ln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2" name="Arc 181">
            <a:extLst>
              <a:ext uri="{FF2B5EF4-FFF2-40B4-BE49-F238E27FC236}">
                <a16:creationId xmlns:a16="http://schemas.microsoft.com/office/drawing/2014/main" id="{FD3B9C27-44EB-9524-9B90-98EC3596D755}"/>
              </a:ext>
            </a:extLst>
          </p:cNvPr>
          <p:cNvSpPr/>
          <p:nvPr/>
        </p:nvSpPr>
        <p:spPr>
          <a:xfrm>
            <a:off x="10822984" y="3768868"/>
            <a:ext cx="310044" cy="310044"/>
          </a:xfrm>
          <a:prstGeom prst="arc">
            <a:avLst>
              <a:gd name="adj1" fmla="val 11015898"/>
              <a:gd name="adj2" fmla="val 20944994"/>
            </a:avLst>
          </a:prstGeom>
          <a:ln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3" name="Arc 182">
            <a:extLst>
              <a:ext uri="{FF2B5EF4-FFF2-40B4-BE49-F238E27FC236}">
                <a16:creationId xmlns:a16="http://schemas.microsoft.com/office/drawing/2014/main" id="{A12AE923-449D-547F-D5AA-65255D1BA136}"/>
              </a:ext>
            </a:extLst>
          </p:cNvPr>
          <p:cNvSpPr/>
          <p:nvPr/>
        </p:nvSpPr>
        <p:spPr>
          <a:xfrm flipV="1">
            <a:off x="11133028" y="3768868"/>
            <a:ext cx="310044" cy="310044"/>
          </a:xfrm>
          <a:prstGeom prst="arc">
            <a:avLst>
              <a:gd name="adj1" fmla="val 11015898"/>
              <a:gd name="adj2" fmla="val 20943090"/>
            </a:avLst>
          </a:prstGeom>
          <a:ln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4" name="Arc 183">
            <a:extLst>
              <a:ext uri="{FF2B5EF4-FFF2-40B4-BE49-F238E27FC236}">
                <a16:creationId xmlns:a16="http://schemas.microsoft.com/office/drawing/2014/main" id="{F2A5DB89-78C9-316F-3F89-6F0A42587771}"/>
              </a:ext>
            </a:extLst>
          </p:cNvPr>
          <p:cNvSpPr/>
          <p:nvPr/>
        </p:nvSpPr>
        <p:spPr>
          <a:xfrm>
            <a:off x="11442174" y="3763953"/>
            <a:ext cx="310044" cy="310044"/>
          </a:xfrm>
          <a:prstGeom prst="arc">
            <a:avLst>
              <a:gd name="adj1" fmla="val 11015898"/>
              <a:gd name="adj2" fmla="val 0"/>
            </a:avLst>
          </a:prstGeom>
          <a:ln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B26AFCE8-BB41-33A8-96BB-EE40D38E50D0}"/>
              </a:ext>
            </a:extLst>
          </p:cNvPr>
          <p:cNvSpPr/>
          <p:nvPr/>
        </p:nvSpPr>
        <p:spPr>
          <a:xfrm>
            <a:off x="10265427" y="3844906"/>
            <a:ext cx="191696" cy="19169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latin typeface="Nexa Bold" panose="02000000000000000000" pitchFamily="50" charset="0"/>
              </a:rPr>
              <a:t>A</a:t>
            </a:r>
          </a:p>
        </p:txBody>
      </p:sp>
      <p:sp>
        <p:nvSpPr>
          <p:cNvPr id="187" name="Oval 186">
            <a:extLst>
              <a:ext uri="{FF2B5EF4-FFF2-40B4-BE49-F238E27FC236}">
                <a16:creationId xmlns:a16="http://schemas.microsoft.com/office/drawing/2014/main" id="{3C5D6A65-2EAC-08C8-C647-CED6B009A503}"/>
              </a:ext>
            </a:extLst>
          </p:cNvPr>
          <p:cNvSpPr/>
          <p:nvPr/>
        </p:nvSpPr>
        <p:spPr>
          <a:xfrm>
            <a:off x="10574407" y="3844906"/>
            <a:ext cx="191696" cy="19169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latin typeface="Nexa Bold" panose="02000000000000000000" pitchFamily="50" charset="0"/>
              </a:rPr>
              <a:t>B</a:t>
            </a:r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DE26870C-EB4A-2235-4747-04DC677652EA}"/>
              </a:ext>
            </a:extLst>
          </p:cNvPr>
          <p:cNvSpPr/>
          <p:nvPr/>
        </p:nvSpPr>
        <p:spPr>
          <a:xfrm>
            <a:off x="10883387" y="3844906"/>
            <a:ext cx="191696" cy="19169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latin typeface="Nexa Bold" panose="02000000000000000000" pitchFamily="50" charset="0"/>
              </a:rPr>
              <a:t>C</a:t>
            </a: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EC0DD378-2084-B076-8EBF-D6CE59B3629F}"/>
              </a:ext>
            </a:extLst>
          </p:cNvPr>
          <p:cNvSpPr/>
          <p:nvPr/>
        </p:nvSpPr>
        <p:spPr>
          <a:xfrm>
            <a:off x="11192367" y="3844906"/>
            <a:ext cx="191696" cy="19169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latin typeface="Nexa Bold" panose="02000000000000000000" pitchFamily="50" charset="0"/>
              </a:rPr>
              <a:t>D</a:t>
            </a: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14AA4D04-9413-1B7E-2AFB-C9219BF03947}"/>
              </a:ext>
            </a:extLst>
          </p:cNvPr>
          <p:cNvSpPr/>
          <p:nvPr/>
        </p:nvSpPr>
        <p:spPr>
          <a:xfrm>
            <a:off x="11501348" y="3844906"/>
            <a:ext cx="191696" cy="19169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latin typeface="Nexa Bold" panose="02000000000000000000" pitchFamily="50" charset="0"/>
              </a:rPr>
              <a:t>E</a:t>
            </a:r>
          </a:p>
        </p:txBody>
      </p: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AB5CFD0D-662E-A192-A440-D36402E857DF}"/>
              </a:ext>
            </a:extLst>
          </p:cNvPr>
          <p:cNvGrpSpPr/>
          <p:nvPr/>
        </p:nvGrpSpPr>
        <p:grpSpPr>
          <a:xfrm>
            <a:off x="4437888" y="4925558"/>
            <a:ext cx="1542288" cy="601482"/>
            <a:chOff x="4437888" y="4925558"/>
            <a:chExt cx="1542288" cy="601482"/>
          </a:xfrm>
        </p:grpSpPr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9EF1E122-2169-D6AC-6916-266599FADF5D}"/>
                </a:ext>
              </a:extLst>
            </p:cNvPr>
            <p:cNvSpPr/>
            <p:nvPr/>
          </p:nvSpPr>
          <p:spPr>
            <a:xfrm>
              <a:off x="4437888" y="4925558"/>
              <a:ext cx="383032" cy="60148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A</a:t>
              </a:r>
            </a:p>
          </p:txBody>
        </p: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F0E0E504-CF8F-8471-1082-43230CF62C0F}"/>
                </a:ext>
              </a:extLst>
            </p:cNvPr>
            <p:cNvGrpSpPr/>
            <p:nvPr/>
          </p:nvGrpSpPr>
          <p:grpSpPr>
            <a:xfrm>
              <a:off x="4844288" y="4925558"/>
              <a:ext cx="1135888" cy="601482"/>
              <a:chOff x="4844288" y="4925558"/>
              <a:chExt cx="1135888" cy="519430"/>
            </a:xfrm>
          </p:grpSpPr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113E6EE7-2D47-833E-486B-404789324CD5}"/>
                  </a:ext>
                </a:extLst>
              </p:cNvPr>
              <p:cNvSpPr/>
              <p:nvPr/>
            </p:nvSpPr>
            <p:spPr>
              <a:xfrm>
                <a:off x="4844288" y="4925558"/>
                <a:ext cx="1135888" cy="15952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  <a:latin typeface="Nexa Bold" panose="02000000000000000000" pitchFamily="50" charset="0"/>
                  </a:rPr>
                  <a:t>A1</a:t>
                </a: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C4F40969-F6EC-5C26-928F-2AF44CBEB050}"/>
                  </a:ext>
                </a:extLst>
              </p:cNvPr>
              <p:cNvSpPr/>
              <p:nvPr/>
            </p:nvSpPr>
            <p:spPr>
              <a:xfrm>
                <a:off x="4844288" y="5105512"/>
                <a:ext cx="1135888" cy="15952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  <a:latin typeface="Nexa Bold" panose="02000000000000000000" pitchFamily="50" charset="0"/>
                  </a:rPr>
                  <a:t>A2</a:t>
                </a:r>
              </a:p>
            </p:txBody>
          </p: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1E6F7B56-AFE1-9C71-3DD4-7B383EC7B0B0}"/>
                  </a:ext>
                </a:extLst>
              </p:cNvPr>
              <p:cNvSpPr/>
              <p:nvPr/>
            </p:nvSpPr>
            <p:spPr>
              <a:xfrm>
                <a:off x="4844288" y="5285466"/>
                <a:ext cx="1135888" cy="15952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  <a:latin typeface="Nexa Bold" panose="02000000000000000000" pitchFamily="50" charset="0"/>
                  </a:rPr>
                  <a:t>A3</a:t>
                </a:r>
              </a:p>
            </p:txBody>
          </p:sp>
        </p:grpSp>
      </p:grpSp>
      <p:sp>
        <p:nvSpPr>
          <p:cNvPr id="199" name="Rectangle 198">
            <a:extLst>
              <a:ext uri="{FF2B5EF4-FFF2-40B4-BE49-F238E27FC236}">
                <a16:creationId xmlns:a16="http://schemas.microsoft.com/office/drawing/2014/main" id="{EC0A0950-BC00-2F81-99E8-109F4E4EAC84}"/>
              </a:ext>
            </a:extLst>
          </p:cNvPr>
          <p:cNvSpPr/>
          <p:nvPr/>
        </p:nvSpPr>
        <p:spPr>
          <a:xfrm>
            <a:off x="8376072" y="4925558"/>
            <a:ext cx="1538684" cy="184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A</a:t>
            </a:r>
          </a:p>
        </p:txBody>
      </p:sp>
      <p:grpSp>
        <p:nvGrpSpPr>
          <p:cNvPr id="204" name="Group 203">
            <a:extLst>
              <a:ext uri="{FF2B5EF4-FFF2-40B4-BE49-F238E27FC236}">
                <a16:creationId xmlns:a16="http://schemas.microsoft.com/office/drawing/2014/main" id="{90806EB1-448B-C011-4494-CFE680055711}"/>
              </a:ext>
            </a:extLst>
          </p:cNvPr>
          <p:cNvGrpSpPr/>
          <p:nvPr/>
        </p:nvGrpSpPr>
        <p:grpSpPr>
          <a:xfrm>
            <a:off x="8376072" y="5133939"/>
            <a:ext cx="1538684" cy="390347"/>
            <a:chOff x="8376072" y="5339565"/>
            <a:chExt cx="1305561" cy="184721"/>
          </a:xfrm>
        </p:grpSpPr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0DADC911-4050-58C0-98E0-60208B9CC3CA}"/>
                </a:ext>
              </a:extLst>
            </p:cNvPr>
            <p:cNvSpPr/>
            <p:nvPr/>
          </p:nvSpPr>
          <p:spPr>
            <a:xfrm>
              <a:off x="8376072" y="5339565"/>
              <a:ext cx="418724" cy="18472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A1</a:t>
              </a:r>
            </a:p>
          </p:txBody>
        </p:sp>
        <p:sp>
          <p:nvSpPr>
            <p:cNvPr id="202" name="Rectangle 201">
              <a:extLst>
                <a:ext uri="{FF2B5EF4-FFF2-40B4-BE49-F238E27FC236}">
                  <a16:creationId xmlns:a16="http://schemas.microsoft.com/office/drawing/2014/main" id="{BFEFD9DF-CD7D-837A-FA0F-EE33E4BDCA30}"/>
                </a:ext>
              </a:extLst>
            </p:cNvPr>
            <p:cNvSpPr/>
            <p:nvPr/>
          </p:nvSpPr>
          <p:spPr>
            <a:xfrm>
              <a:off x="8819490" y="5339565"/>
              <a:ext cx="418724" cy="18472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A2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7C5B8C76-3001-7601-99C5-E7CE9BA9BF1B}"/>
                </a:ext>
              </a:extLst>
            </p:cNvPr>
            <p:cNvSpPr/>
            <p:nvPr/>
          </p:nvSpPr>
          <p:spPr>
            <a:xfrm>
              <a:off x="9262909" y="5339565"/>
              <a:ext cx="418724" cy="18472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Nexa Bold" panose="02000000000000000000" pitchFamily="50" charset="0"/>
                </a:rPr>
                <a:t>A3</a:t>
              </a:r>
            </a:p>
          </p:txBody>
        </p:sp>
      </p:grpSp>
      <p:sp>
        <p:nvSpPr>
          <p:cNvPr id="205" name="Rectangle 204">
            <a:extLst>
              <a:ext uri="{FF2B5EF4-FFF2-40B4-BE49-F238E27FC236}">
                <a16:creationId xmlns:a16="http://schemas.microsoft.com/office/drawing/2014/main" id="{84FEFB8D-B36C-04F0-E337-E727DA471094}"/>
              </a:ext>
            </a:extLst>
          </p:cNvPr>
          <p:cNvSpPr/>
          <p:nvPr/>
        </p:nvSpPr>
        <p:spPr>
          <a:xfrm>
            <a:off x="6248914" y="4925559"/>
            <a:ext cx="1538684" cy="1321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A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A0E4E3C2-3875-A3C4-BB89-1EDEAED4FFD1}"/>
              </a:ext>
            </a:extLst>
          </p:cNvPr>
          <p:cNvSpPr/>
          <p:nvPr/>
        </p:nvSpPr>
        <p:spPr>
          <a:xfrm>
            <a:off x="6248914" y="5074045"/>
            <a:ext cx="1538684" cy="1321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A1</a:t>
            </a: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142C274D-CBDE-1068-D0D4-CC03D6AEE8C3}"/>
              </a:ext>
            </a:extLst>
          </p:cNvPr>
          <p:cNvSpPr/>
          <p:nvPr/>
        </p:nvSpPr>
        <p:spPr>
          <a:xfrm>
            <a:off x="6248914" y="5222531"/>
            <a:ext cx="1538684" cy="1321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B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AC499153-F0D5-9C6D-5CBF-3AB3D87AED6A}"/>
              </a:ext>
            </a:extLst>
          </p:cNvPr>
          <p:cNvSpPr/>
          <p:nvPr/>
        </p:nvSpPr>
        <p:spPr>
          <a:xfrm>
            <a:off x="6248914" y="5371016"/>
            <a:ext cx="1538684" cy="1321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B1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ABBFC307-B87A-F49B-34A8-9E111BE1A3D9}"/>
              </a:ext>
            </a:extLst>
          </p:cNvPr>
          <p:cNvSpPr/>
          <p:nvPr/>
        </p:nvSpPr>
        <p:spPr>
          <a:xfrm>
            <a:off x="10209893" y="4925559"/>
            <a:ext cx="734967" cy="1321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A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CBCC11D5-9B11-694C-2356-422487532318}"/>
              </a:ext>
            </a:extLst>
          </p:cNvPr>
          <p:cNvSpPr/>
          <p:nvPr/>
        </p:nvSpPr>
        <p:spPr>
          <a:xfrm>
            <a:off x="10209893" y="5074045"/>
            <a:ext cx="734967" cy="4502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A1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79D493F4-35FA-4D2F-2072-C210C82A70A1}"/>
              </a:ext>
            </a:extLst>
          </p:cNvPr>
          <p:cNvSpPr/>
          <p:nvPr/>
        </p:nvSpPr>
        <p:spPr>
          <a:xfrm>
            <a:off x="11012166" y="4925559"/>
            <a:ext cx="734967" cy="1321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B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82F6D958-62D1-4A55-0842-EF8ECEEA0CA2}"/>
              </a:ext>
            </a:extLst>
          </p:cNvPr>
          <p:cNvSpPr/>
          <p:nvPr/>
        </p:nvSpPr>
        <p:spPr>
          <a:xfrm>
            <a:off x="11012166" y="5074044"/>
            <a:ext cx="734967" cy="4502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Nexa Bold" panose="02000000000000000000" pitchFamily="50" charset="0"/>
              </a:rPr>
              <a:t>B1</a:t>
            </a:r>
          </a:p>
        </p:txBody>
      </p:sp>
    </p:spTree>
    <p:extLst>
      <p:ext uri="{BB962C8B-B14F-4D97-AF65-F5344CB8AC3E}">
        <p14:creationId xmlns:p14="http://schemas.microsoft.com/office/powerpoint/2010/main" val="1412890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CADE93-A638-1CAC-4E35-A7988B996A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CADE93-A638-1CAC-4E35-A7988B996A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122375-FEB3-210E-CB47-EB3498146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350121"/>
            <a:ext cx="11506200" cy="683264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l" rtl="0"/>
            <a:r>
              <a:rPr lang="en-US" sz="4800" dirty="0">
                <a:solidFill>
                  <a:schemeClr val="tx2"/>
                </a:solidFill>
                <a:latin typeface="Nexa Bold" panose="02000000000000000000" pitchFamily="50" charset="0"/>
              </a:rPr>
              <a:t>Layout treatment develop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3614D5-14E7-6A09-48C4-D6E7A8E44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F5E4-35CF-4C29-B9F8-D683A03DA2A9}" type="slidenum">
              <a:rPr lang="id-ID" smtClean="0"/>
              <a:pPr/>
              <a:t>7</a:t>
            </a:fld>
            <a:endParaRPr lang="id-ID"/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B3CB132A-D824-E4F0-D901-2B9F3205DF79}"/>
              </a:ext>
            </a:extLst>
          </p:cNvPr>
          <p:cNvSpPr txBox="1">
            <a:spLocks/>
          </p:cNvSpPr>
          <p:nvPr/>
        </p:nvSpPr>
        <p:spPr>
          <a:xfrm>
            <a:off x="342900" y="1957643"/>
            <a:ext cx="3596733" cy="133575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NeueLT Arabic 75 Bold" panose="020B0804020202020204" pitchFamily="34" charset="-78"/>
                <a:ea typeface="+mj-ea"/>
                <a:cs typeface="HelveticaNeueLT Arabic 75 Bold" panose="020B0804020202020204" pitchFamily="34" charset="-78"/>
              </a:defRPr>
            </a:lvl1pPr>
          </a:lstStyle>
          <a:p>
            <a:pPr algn="l" rtl="0"/>
            <a:r>
              <a:rPr lang="en-US" sz="1600" dirty="0">
                <a:latin typeface="Nexa Light" panose="02000000000000000000" pitchFamily="50" charset="0"/>
              </a:rPr>
              <a:t>Eventhough, There are still </a:t>
            </a:r>
            <a:br>
              <a:rPr lang="en-US" sz="1600" dirty="0">
                <a:latin typeface="Nexa Light" panose="02000000000000000000" pitchFamily="50" charset="0"/>
              </a:rPr>
            </a:br>
            <a:r>
              <a:rPr lang="en-US" sz="1600" dirty="0">
                <a:latin typeface="Nexa Light" panose="02000000000000000000" pitchFamily="50" charset="0"/>
              </a:rPr>
              <a:t>a condition where you </a:t>
            </a:r>
            <a:r>
              <a:rPr lang="en-US" sz="1600" dirty="0">
                <a:latin typeface="Nexa Bold" panose="02000000000000000000" pitchFamily="50" charset="0"/>
              </a:rPr>
              <a:t>can’t break </a:t>
            </a:r>
            <a:br>
              <a:rPr lang="en-US" sz="1600" dirty="0">
                <a:latin typeface="Nexa Bold" panose="02000000000000000000" pitchFamily="50" charset="0"/>
              </a:rPr>
            </a:br>
            <a:r>
              <a:rPr lang="en-US" sz="1600" dirty="0">
                <a:latin typeface="Nexa Bold" panose="02000000000000000000" pitchFamily="50" charset="0"/>
              </a:rPr>
              <a:t>the layout</a:t>
            </a:r>
            <a:r>
              <a:rPr lang="en-US" sz="1600" dirty="0">
                <a:latin typeface="Nexa Light" panose="02000000000000000000" pitchFamily="50" charset="0"/>
              </a:rPr>
              <a:t>. Better keep your layout when you facing </a:t>
            </a:r>
            <a:r>
              <a:rPr lang="en-US" sz="1600" dirty="0">
                <a:latin typeface="Nexa Bold" panose="02000000000000000000" pitchFamily="50" charset="0"/>
              </a:rPr>
              <a:t>heavy contents tables, dashboard, or complex timeline.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9D1C4907-3B82-DF62-351A-733803E4FDE8}"/>
              </a:ext>
            </a:extLst>
          </p:cNvPr>
          <p:cNvGrpSpPr/>
          <p:nvPr/>
        </p:nvGrpSpPr>
        <p:grpSpPr>
          <a:xfrm>
            <a:off x="342901" y="5244635"/>
            <a:ext cx="3596732" cy="423873"/>
            <a:chOff x="342901" y="5699134"/>
            <a:chExt cx="3596732" cy="423873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DD2CDBE1-8EB0-2E62-FF7C-1F4C3B68BA49}"/>
                </a:ext>
              </a:extLst>
            </p:cNvPr>
            <p:cNvSpPr/>
            <p:nvPr/>
          </p:nvSpPr>
          <p:spPr>
            <a:xfrm>
              <a:off x="342901" y="5699134"/>
              <a:ext cx="3596732" cy="423873"/>
            </a:xfrm>
            <a:prstGeom prst="roundRect">
              <a:avLst>
                <a:gd name="adj" fmla="val 23034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Title 5">
              <a:extLst>
                <a:ext uri="{FF2B5EF4-FFF2-40B4-BE49-F238E27FC236}">
                  <a16:creationId xmlns:a16="http://schemas.microsoft.com/office/drawing/2014/main" id="{1BA33AFF-0AD6-18D0-391C-CCD49D8AB0A8}"/>
                </a:ext>
              </a:extLst>
            </p:cNvPr>
            <p:cNvSpPr txBox="1">
              <a:spLocks/>
            </p:cNvSpPr>
            <p:nvPr/>
          </p:nvSpPr>
          <p:spPr>
            <a:xfrm>
              <a:off x="574548" y="5797193"/>
              <a:ext cx="2238093" cy="22775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r" defTabSz="914400" rtl="1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kern="1200">
                  <a:solidFill>
                    <a:schemeClr val="tx1"/>
                  </a:solidFill>
                  <a:latin typeface="HelveticaNeueLT Arabic 75 Bold" panose="020B0804020202020204" pitchFamily="34" charset="-78"/>
                  <a:ea typeface="+mj-ea"/>
                  <a:cs typeface="HelveticaNeueLT Arabic 75 Bold" panose="020B0804020202020204" pitchFamily="34" charset="-78"/>
                </a:defRPr>
              </a:lvl1pPr>
            </a:lstStyle>
            <a:p>
              <a:pPr algn="l" rtl="0"/>
              <a:r>
                <a:rPr lang="en-US" sz="1600" dirty="0">
                  <a:solidFill>
                    <a:schemeClr val="bg1"/>
                  </a:solidFill>
                  <a:latin typeface="Nexa Light" panose="02000000000000000000" pitchFamily="50" charset="0"/>
                </a:rPr>
                <a:t>Here’s some example</a:t>
              </a:r>
              <a:endParaRPr lang="en-US" sz="1400" dirty="0">
                <a:solidFill>
                  <a:schemeClr val="bg1"/>
                </a:solidFill>
                <a:latin typeface="Nexa Bold" panose="02000000000000000000" pitchFamily="50" charset="0"/>
              </a:endParaRPr>
            </a:p>
          </p:txBody>
        </p:sp>
        <p:sp>
          <p:nvSpPr>
            <p:cNvPr id="21" name="Arrow: Right 20">
              <a:extLst>
                <a:ext uri="{FF2B5EF4-FFF2-40B4-BE49-F238E27FC236}">
                  <a16:creationId xmlns:a16="http://schemas.microsoft.com/office/drawing/2014/main" id="{D5E1D311-CCF9-BE15-1D4E-365C58F1B25E}"/>
                </a:ext>
              </a:extLst>
            </p:cNvPr>
            <p:cNvSpPr/>
            <p:nvPr/>
          </p:nvSpPr>
          <p:spPr>
            <a:xfrm>
              <a:off x="3495674" y="5794064"/>
              <a:ext cx="253365" cy="234012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C2C00F3-52B1-88A5-BDB9-21E273688ED2}"/>
              </a:ext>
            </a:extLst>
          </p:cNvPr>
          <p:cNvCxnSpPr>
            <a:cxnSpLocks/>
          </p:cNvCxnSpPr>
          <p:nvPr/>
        </p:nvCxnSpPr>
        <p:spPr>
          <a:xfrm flipV="1">
            <a:off x="4121757" y="1568949"/>
            <a:ext cx="0" cy="40995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0B8E74E-1C2E-E24F-F911-9C7D816A4244}"/>
              </a:ext>
            </a:extLst>
          </p:cNvPr>
          <p:cNvCxnSpPr>
            <a:cxnSpLocks/>
          </p:cNvCxnSpPr>
          <p:nvPr/>
        </p:nvCxnSpPr>
        <p:spPr>
          <a:xfrm>
            <a:off x="335280" y="1747777"/>
            <a:ext cx="1185672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6B1B4FC2-E4F2-DBEA-3241-1D3D2D36F6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03883" y="1957643"/>
            <a:ext cx="2459499" cy="13829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sx="102000" sy="102000" algn="ctr" rotWithShape="0">
              <a:schemeClr val="tx1">
                <a:alpha val="16000"/>
              </a:scheme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EF6AE45-97C5-82B1-8701-ECE22580B7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61668" y="1957643"/>
            <a:ext cx="2459499" cy="13829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sx="102000" sy="102000" algn="ctr" rotWithShape="0">
              <a:schemeClr val="tx1">
                <a:alpha val="16000"/>
              </a:scheme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8C1C6A1-4D58-26B5-7EF4-6C1531192A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19453" y="1957643"/>
            <a:ext cx="2429647" cy="13661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sx="102000" sy="102000" algn="ctr" rotWithShape="0">
              <a:schemeClr val="tx1">
                <a:alpha val="16000"/>
              </a:schemeClr>
            </a:outerShdw>
          </a:effec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F53010E-472B-B3BD-B556-15DE4C0384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03883" y="3450710"/>
            <a:ext cx="2459490" cy="138290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sx="102000" sy="102000" algn="ctr" rotWithShape="0">
              <a:schemeClr val="tx1">
                <a:alpha val="16000"/>
              </a:schemeClr>
            </a:outerShdw>
          </a:effec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F1159DB-F035-C2EF-FD4A-3E76B888F54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61668" y="3450709"/>
            <a:ext cx="2459488" cy="138290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sx="102000" sy="102000" algn="ctr" rotWithShape="0">
              <a:schemeClr val="tx1">
                <a:alpha val="16000"/>
              </a:schemeClr>
            </a:outerShdw>
          </a:effec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128DAC16-D9B1-143C-4A53-F825F8F4B31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19453" y="3450709"/>
            <a:ext cx="2459488" cy="138290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sx="102000" sy="102000" algn="ctr" rotWithShape="0">
              <a:schemeClr val="tx1">
                <a:alpha val="16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532679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CADE93-A638-1CAC-4E35-A7988B996A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4024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CADE93-A638-1CAC-4E35-A7988B996A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91A07F2C-711C-481A-81D4-4178AEE7C443}"/>
              </a:ext>
            </a:extLst>
          </p:cNvPr>
          <p:cNvSpPr/>
          <p:nvPr/>
        </p:nvSpPr>
        <p:spPr>
          <a:xfrm flipH="1">
            <a:off x="-2" y="2077298"/>
            <a:ext cx="6096001" cy="2309507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203200" sx="102000" sy="102000" algn="ctr" rotWithShape="0">
              <a:schemeClr val="tx1">
                <a:alpha val="16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8F3014D-BE8B-E147-BD32-D63F4BCBA8D4}"/>
              </a:ext>
            </a:extLst>
          </p:cNvPr>
          <p:cNvSpPr/>
          <p:nvPr/>
        </p:nvSpPr>
        <p:spPr>
          <a:xfrm flipH="1">
            <a:off x="5347502" y="2077298"/>
            <a:ext cx="6501595" cy="2309507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03200" sx="102000" sy="102000" algn="ctr" rotWithShape="0">
              <a:schemeClr val="tx1">
                <a:alpha val="16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122375-FEB3-210E-CB47-EB3498146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2558021"/>
            <a:ext cx="4703661" cy="1348061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l" rtl="0"/>
            <a:r>
              <a:rPr lang="en-US" sz="4800" dirty="0">
                <a:solidFill>
                  <a:schemeClr val="bg1"/>
                </a:solidFill>
                <a:latin typeface="Nexa Bold" panose="02000000000000000000" pitchFamily="50" charset="0"/>
              </a:rPr>
              <a:t>Customer Document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3614D5-14E7-6A09-48C4-D6E7A8E44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F5E4-35CF-4C29-B9F8-D683A03DA2A9}" type="slidenum">
              <a:rPr lang="id-ID" smtClean="0"/>
              <a:pPr/>
              <a:t>8</a:t>
            </a:fld>
            <a:endParaRPr lang="id-ID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26CD327-1B95-125C-22AE-305861EF29EC}"/>
              </a:ext>
            </a:extLst>
          </p:cNvPr>
          <p:cNvGrpSpPr/>
          <p:nvPr/>
        </p:nvGrpSpPr>
        <p:grpSpPr>
          <a:xfrm>
            <a:off x="5857368" y="2804922"/>
            <a:ext cx="5504052" cy="854258"/>
            <a:chOff x="5857368" y="2838041"/>
            <a:chExt cx="5504052" cy="854258"/>
          </a:xfrm>
        </p:grpSpPr>
        <p:sp>
          <p:nvSpPr>
            <p:cNvPr id="12" name="Title 5">
              <a:hlinkClick r:id="rId5"/>
              <a:extLst>
                <a:ext uri="{FF2B5EF4-FFF2-40B4-BE49-F238E27FC236}">
                  <a16:creationId xmlns:a16="http://schemas.microsoft.com/office/drawing/2014/main" id="{169201D1-33E1-852A-A82E-C4CF48F328DF}"/>
                </a:ext>
              </a:extLst>
            </p:cNvPr>
            <p:cNvSpPr txBox="1">
              <a:spLocks/>
            </p:cNvSpPr>
            <p:nvPr/>
          </p:nvSpPr>
          <p:spPr>
            <a:xfrm>
              <a:off x="5857368" y="3436075"/>
              <a:ext cx="5504052" cy="25622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r" defTabSz="914400" rtl="1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kern="1200">
                  <a:solidFill>
                    <a:schemeClr val="tx1"/>
                  </a:solidFill>
                  <a:latin typeface="HelveticaNeueLT Arabic 75 Bold" panose="020B0804020202020204" pitchFamily="34" charset="-78"/>
                  <a:ea typeface="+mj-ea"/>
                  <a:cs typeface="HelveticaNeueLT Arabic 75 Bold" panose="020B0804020202020204" pitchFamily="34" charset="-78"/>
                </a:defRPr>
              </a:lvl1pPr>
            </a:lstStyle>
            <a:p>
              <a:pPr algn="l" rtl="0"/>
              <a:r>
                <a:rPr lang="en-US" sz="1800" u="sng" dirty="0">
                  <a:solidFill>
                    <a:schemeClr val="accent1"/>
                  </a:solidFill>
                  <a:latin typeface="Nexa Light" panose="02000000000000000000" pitchFamily="50" charset="0"/>
                </a:rPr>
                <a:t>https://cloud.24slides.dev/s/CjCdfoAADZC8BK9</a:t>
              </a:r>
            </a:p>
          </p:txBody>
        </p:sp>
        <p:sp>
          <p:nvSpPr>
            <p:cNvPr id="19" name="Title 5">
              <a:extLst>
                <a:ext uri="{FF2B5EF4-FFF2-40B4-BE49-F238E27FC236}">
                  <a16:creationId xmlns:a16="http://schemas.microsoft.com/office/drawing/2014/main" id="{A3575FDC-5A1D-0595-76F4-38A0522E0D62}"/>
                </a:ext>
              </a:extLst>
            </p:cNvPr>
            <p:cNvSpPr txBox="1">
              <a:spLocks/>
            </p:cNvSpPr>
            <p:nvPr/>
          </p:nvSpPr>
          <p:spPr>
            <a:xfrm>
              <a:off x="5857368" y="2838041"/>
              <a:ext cx="5504052" cy="505523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r" defTabSz="914400" rtl="1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kern="1200">
                  <a:solidFill>
                    <a:schemeClr val="tx1"/>
                  </a:solidFill>
                  <a:latin typeface="HelveticaNeueLT Arabic 75 Bold" panose="020B0804020202020204" pitchFamily="34" charset="-78"/>
                  <a:ea typeface="+mj-ea"/>
                  <a:cs typeface="HelveticaNeueLT Arabic 75 Bold" panose="020B0804020202020204" pitchFamily="34" charset="-78"/>
                </a:defRPr>
              </a:lvl1pPr>
            </a:lstStyle>
            <a:p>
              <a:pPr algn="l" rtl="0"/>
              <a:r>
                <a:rPr lang="en-US" sz="1800" dirty="0">
                  <a:latin typeface="Nexa Light" panose="02000000000000000000" pitchFamily="50" charset="0"/>
                </a:rPr>
                <a:t>You can visit here to get all the materials, including template variations, fonts, and previous order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77836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doOv9NjKAe3EsTXBix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doOv9NjKAe3EsTXBix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b63.T.s8LjZAUqDV2bK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91wIbG7jVkvRMxpRWv3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q4fiG7Z60uVjKlynqS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doOv9NjKAe3EsTXBix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doOv9NjKAe3EsTXBix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CLwIPbxuBrORdhpEkER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doOv9NjKAe3EsTXBixt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4QSNnhXNJYTFFJbc7_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rAoBwQ1M.nq2hU9zAq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ngvu4PSJaO6zY19LqeP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KRmiQeJWuHv9uv2d3dO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mwZO5wfmw9yWeTYJXZs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hKDE.1YIDwgkG5qzU.f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jJS7nZFA0a7AvpEUZh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pn09GQmxtsKHN1QBRP.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x5LFi93icqSRslbd5v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i8GGIL8FvkhavjyKeN_w"/>
</p:tagLst>
</file>

<file path=ppt/theme/theme1.xml><?xml version="1.0" encoding="utf-8"?>
<a:theme xmlns:a="http://schemas.openxmlformats.org/drawingml/2006/main" name="Kafaa Theme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47">
      <a:majorFont>
        <a:latin typeface="Nexa Bold"/>
        <a:ea typeface=""/>
        <a:cs typeface=""/>
      </a:majorFont>
      <a:minorFont>
        <a:latin typeface="Nexa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8243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Kafaa Theme1" id="{23DB454D-ABC2-426C-9D5A-DCBADA58062E}" vid="{D5EB8D94-0B2D-4813-BE5B-F21940BFBD60}"/>
    </a:ext>
  </a:extLst>
</a:theme>
</file>

<file path=ppt/theme/theme10.xml><?xml version="1.0" encoding="utf-8"?>
<a:theme xmlns:a="http://schemas.openxmlformats.org/drawingml/2006/main" name="2_Theme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47">
      <a:majorFont>
        <a:latin typeface="Nexa Bold"/>
        <a:ea typeface=""/>
        <a:cs typeface=""/>
      </a:majorFont>
      <a:minorFont>
        <a:latin typeface="Nexa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8243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8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heme2" id="{3A8CE496-C16E-48C8-B3C5-22549E6B730F}" vid="{BC640809-480C-4F89-B701-56DF67602A22}"/>
    </a:ext>
  </a:extLst>
</a:theme>
</file>

<file path=ppt/theme/theme11.xml><?xml version="1.0" encoding="utf-8"?>
<a:theme xmlns:a="http://schemas.openxmlformats.org/drawingml/2006/main" name="4_Theme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47">
      <a:majorFont>
        <a:latin typeface="Nexa Bold"/>
        <a:ea typeface=""/>
        <a:cs typeface=""/>
      </a:majorFont>
      <a:minorFont>
        <a:latin typeface="Nexa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8243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8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heme2" id="{3A8CE496-C16E-48C8-B3C5-22549E6B730F}" vid="{BC640809-480C-4F89-B701-56DF67602A22}"/>
    </a:ext>
  </a:extLst>
</a:theme>
</file>

<file path=ppt/theme/theme1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5_Theme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47">
      <a:majorFont>
        <a:latin typeface="Nexa Bold"/>
        <a:ea typeface=""/>
        <a:cs typeface=""/>
      </a:majorFont>
      <a:minorFont>
        <a:latin typeface="Nexa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8243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8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heme2" id="{3A8CE496-C16E-48C8-B3C5-22549E6B730F}" vid="{BC640809-480C-4F89-B701-56DF67602A22}"/>
    </a:ext>
  </a:extLst>
</a:theme>
</file>

<file path=ppt/theme/theme1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47">
      <a:majorFont>
        <a:latin typeface="Nexa Bold"/>
        <a:ea typeface=""/>
        <a:cs typeface=""/>
      </a:majorFont>
      <a:minorFont>
        <a:latin typeface="Nexa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8243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5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4_Custom Design">
  <a:themeElements>
    <a:clrScheme name="Custom 3">
      <a:dk1>
        <a:srgbClr val="3F3F3F"/>
      </a:dk1>
      <a:lt1>
        <a:srgbClr val="FFFFFF"/>
      </a:lt1>
      <a:dk2>
        <a:srgbClr val="D8D8D8"/>
      </a:dk2>
      <a:lt2>
        <a:srgbClr val="FFFFFF"/>
      </a:lt2>
      <a:accent1>
        <a:srgbClr val="C00000"/>
      </a:accent1>
      <a:accent2>
        <a:srgbClr val="FA0000"/>
      </a:accent2>
      <a:accent3>
        <a:srgbClr val="FF5B5B"/>
      </a:accent3>
      <a:accent4>
        <a:srgbClr val="7F7F7F"/>
      </a:accent4>
      <a:accent5>
        <a:srgbClr val="A5A5A5"/>
      </a:accent5>
      <a:accent6>
        <a:srgbClr val="BFBFBF"/>
      </a:accent6>
      <a:hlink>
        <a:srgbClr val="BFBFBF"/>
      </a:hlink>
      <a:folHlink>
        <a:srgbClr val="FF5B5B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Custom 3">
      <a:dk1>
        <a:srgbClr val="3F3F3F"/>
      </a:dk1>
      <a:lt1>
        <a:srgbClr val="FFFFFF"/>
      </a:lt1>
      <a:dk2>
        <a:srgbClr val="D8D8D8"/>
      </a:dk2>
      <a:lt2>
        <a:srgbClr val="FFFFFF"/>
      </a:lt2>
      <a:accent1>
        <a:srgbClr val="C00000"/>
      </a:accent1>
      <a:accent2>
        <a:srgbClr val="FA0000"/>
      </a:accent2>
      <a:accent3>
        <a:srgbClr val="FF5B5B"/>
      </a:accent3>
      <a:accent4>
        <a:srgbClr val="7F7F7F"/>
      </a:accent4>
      <a:accent5>
        <a:srgbClr val="A5A5A5"/>
      </a:accent5>
      <a:accent6>
        <a:srgbClr val="BFBFBF"/>
      </a:accent6>
      <a:hlink>
        <a:srgbClr val="BFBFBF"/>
      </a:hlink>
      <a:folHlink>
        <a:srgbClr val="FF5B5B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faa">
  <a:themeElements>
    <a:clrScheme name="Custom 3">
      <a:dk1>
        <a:srgbClr val="3F3F3F"/>
      </a:dk1>
      <a:lt1>
        <a:srgbClr val="FFFFFF"/>
      </a:lt1>
      <a:dk2>
        <a:srgbClr val="D8D8D8"/>
      </a:dk2>
      <a:lt2>
        <a:srgbClr val="FFFFFF"/>
      </a:lt2>
      <a:accent1>
        <a:srgbClr val="C00000"/>
      </a:accent1>
      <a:accent2>
        <a:srgbClr val="FA0000"/>
      </a:accent2>
      <a:accent3>
        <a:srgbClr val="FF5B5B"/>
      </a:accent3>
      <a:accent4>
        <a:srgbClr val="7F7F7F"/>
      </a:accent4>
      <a:accent5>
        <a:srgbClr val="A5A5A5"/>
      </a:accent5>
      <a:accent6>
        <a:srgbClr val="BFBFBF"/>
      </a:accent6>
      <a:hlink>
        <a:srgbClr val="BFBFBF"/>
      </a:hlink>
      <a:folHlink>
        <a:srgbClr val="FF5B5B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afaa" id="{E1064A57-C9D1-41D9-AE8F-0008362BCC75}" vid="{8544D559-3B13-40F0-B086-CA32B39F3D34}"/>
    </a:ext>
  </a:extLst>
</a:theme>
</file>

<file path=ppt/theme/theme4.xml><?xml version="1.0" encoding="utf-8"?>
<a:theme xmlns:a="http://schemas.openxmlformats.org/drawingml/2006/main" name="1_Kafaa">
  <a:themeElements>
    <a:clrScheme name="Custom 3">
      <a:dk1>
        <a:srgbClr val="3F3F3F"/>
      </a:dk1>
      <a:lt1>
        <a:srgbClr val="FFFFFF"/>
      </a:lt1>
      <a:dk2>
        <a:srgbClr val="D8D8D8"/>
      </a:dk2>
      <a:lt2>
        <a:srgbClr val="FFFFFF"/>
      </a:lt2>
      <a:accent1>
        <a:srgbClr val="C00000"/>
      </a:accent1>
      <a:accent2>
        <a:srgbClr val="FA0000"/>
      </a:accent2>
      <a:accent3>
        <a:srgbClr val="FF5B5B"/>
      </a:accent3>
      <a:accent4>
        <a:srgbClr val="7F7F7F"/>
      </a:accent4>
      <a:accent5>
        <a:srgbClr val="A5A5A5"/>
      </a:accent5>
      <a:accent6>
        <a:srgbClr val="BFBFBF"/>
      </a:accent6>
      <a:hlink>
        <a:srgbClr val="BFBFBF"/>
      </a:hlink>
      <a:folHlink>
        <a:srgbClr val="FF5B5B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afaa" id="{E1064A57-C9D1-41D9-AE8F-0008362BCC75}" vid="{8544D559-3B13-40F0-B086-CA32B39F3D34}"/>
    </a:ext>
  </a:extLst>
</a:theme>
</file>

<file path=ppt/theme/theme5.xml><?xml version="1.0" encoding="utf-8"?>
<a:theme xmlns:a="http://schemas.openxmlformats.org/drawingml/2006/main" name="Theme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47">
      <a:majorFont>
        <a:latin typeface="Nexa Bold"/>
        <a:ea typeface=""/>
        <a:cs typeface=""/>
      </a:majorFont>
      <a:minorFont>
        <a:latin typeface="Nexa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8243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8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heme2" id="{3A8CE496-C16E-48C8-B3C5-22549E6B730F}" vid="{BC640809-480C-4F89-B701-56DF67602A22}"/>
    </a:ext>
  </a:extLst>
</a:theme>
</file>

<file path=ppt/theme/theme6.xml><?xml version="1.0" encoding="utf-8"?>
<a:theme xmlns:a="http://schemas.openxmlformats.org/drawingml/2006/main" name="1_Theme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47">
      <a:majorFont>
        <a:latin typeface="Nexa Bold"/>
        <a:ea typeface=""/>
        <a:cs typeface=""/>
      </a:majorFont>
      <a:minorFont>
        <a:latin typeface="Nexa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8243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8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heme2" id="{3A8CE496-C16E-48C8-B3C5-22549E6B730F}" vid="{BC640809-480C-4F89-B701-56DF67602A22}"/>
    </a:ext>
  </a:extLst>
</a:theme>
</file>

<file path=ppt/theme/theme7.xml><?xml version="1.0" encoding="utf-8"?>
<a:theme xmlns:a="http://schemas.openxmlformats.org/drawingml/2006/main" name="1_Custom Design">
  <a:themeElements>
    <a:clrScheme name="Custom 3">
      <a:dk1>
        <a:srgbClr val="3F3F3F"/>
      </a:dk1>
      <a:lt1>
        <a:srgbClr val="FFFFFF"/>
      </a:lt1>
      <a:dk2>
        <a:srgbClr val="D8D8D8"/>
      </a:dk2>
      <a:lt2>
        <a:srgbClr val="FFFFFF"/>
      </a:lt2>
      <a:accent1>
        <a:srgbClr val="C00000"/>
      </a:accent1>
      <a:accent2>
        <a:srgbClr val="FA0000"/>
      </a:accent2>
      <a:accent3>
        <a:srgbClr val="FF5B5B"/>
      </a:accent3>
      <a:accent4>
        <a:srgbClr val="7F7F7F"/>
      </a:accent4>
      <a:accent5>
        <a:srgbClr val="A5A5A5"/>
      </a:accent5>
      <a:accent6>
        <a:srgbClr val="BFBFBF"/>
      </a:accent6>
      <a:hlink>
        <a:srgbClr val="BFBFBF"/>
      </a:hlink>
      <a:folHlink>
        <a:srgbClr val="FF5B5B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2_Custom Design">
  <a:themeElements>
    <a:clrScheme name="Custom 3">
      <a:dk1>
        <a:srgbClr val="3F3F3F"/>
      </a:dk1>
      <a:lt1>
        <a:srgbClr val="FFFFFF"/>
      </a:lt1>
      <a:dk2>
        <a:srgbClr val="D8D8D8"/>
      </a:dk2>
      <a:lt2>
        <a:srgbClr val="FFFFFF"/>
      </a:lt2>
      <a:accent1>
        <a:srgbClr val="C00000"/>
      </a:accent1>
      <a:accent2>
        <a:srgbClr val="FA0000"/>
      </a:accent2>
      <a:accent3>
        <a:srgbClr val="FF5B5B"/>
      </a:accent3>
      <a:accent4>
        <a:srgbClr val="7F7F7F"/>
      </a:accent4>
      <a:accent5>
        <a:srgbClr val="A5A5A5"/>
      </a:accent5>
      <a:accent6>
        <a:srgbClr val="BFBFBF"/>
      </a:accent6>
      <a:hlink>
        <a:srgbClr val="BFBFBF"/>
      </a:hlink>
      <a:folHlink>
        <a:srgbClr val="FF5B5B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3_Custom Design">
  <a:themeElements>
    <a:clrScheme name="Custom 3">
      <a:dk1>
        <a:srgbClr val="3F3F3F"/>
      </a:dk1>
      <a:lt1>
        <a:srgbClr val="FFFFFF"/>
      </a:lt1>
      <a:dk2>
        <a:srgbClr val="D8D8D8"/>
      </a:dk2>
      <a:lt2>
        <a:srgbClr val="FFFFFF"/>
      </a:lt2>
      <a:accent1>
        <a:srgbClr val="C00000"/>
      </a:accent1>
      <a:accent2>
        <a:srgbClr val="FA0000"/>
      </a:accent2>
      <a:accent3>
        <a:srgbClr val="FF5B5B"/>
      </a:accent3>
      <a:accent4>
        <a:srgbClr val="7F7F7F"/>
      </a:accent4>
      <a:accent5>
        <a:srgbClr val="A5A5A5"/>
      </a:accent5>
      <a:accent6>
        <a:srgbClr val="BFBFBF"/>
      </a:accent6>
      <a:hlink>
        <a:srgbClr val="BFBFBF"/>
      </a:hlink>
      <a:folHlink>
        <a:srgbClr val="FF5B5B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afaa Theme1</Template>
  <TotalTime>2155</TotalTime>
  <Words>392</Words>
  <Application>Microsoft Office PowerPoint</Application>
  <PresentationFormat>Widescreen</PresentationFormat>
  <Paragraphs>134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1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43" baseType="lpstr">
      <vt:lpstr>Arial</vt:lpstr>
      <vt:lpstr>Calibri</vt:lpstr>
      <vt:lpstr>Calibri Light</vt:lpstr>
      <vt:lpstr>Displace 2.0</vt:lpstr>
      <vt:lpstr>Gotham</vt:lpstr>
      <vt:lpstr>Helvetica Neue</vt:lpstr>
      <vt:lpstr>Helvetica Neue LT Arabic 55 Roman</vt:lpstr>
      <vt:lpstr>Helvetica Neue LT Std 75</vt:lpstr>
      <vt:lpstr>HelveticaNeueLT Arabic 45 Light</vt:lpstr>
      <vt:lpstr>HelveticaNeueLT Arabic 55 Roman</vt:lpstr>
      <vt:lpstr>HelveticaNeueLT Arabic 75 Bold</vt:lpstr>
      <vt:lpstr>HelveticaNeueLT Regular</vt:lpstr>
      <vt:lpstr>Nexa Bold</vt:lpstr>
      <vt:lpstr>Nexa Light</vt:lpstr>
      <vt:lpstr>Sakkal Majalla</vt:lpstr>
      <vt:lpstr>Verdana</vt:lpstr>
      <vt:lpstr>Kafaa Theme1</vt:lpstr>
      <vt:lpstr>Custom Design</vt:lpstr>
      <vt:lpstr>Kafaa</vt:lpstr>
      <vt:lpstr>1_Kafaa</vt:lpstr>
      <vt:lpstr>Theme2</vt:lpstr>
      <vt:lpstr>1_Theme2</vt:lpstr>
      <vt:lpstr>1_Custom Design</vt:lpstr>
      <vt:lpstr>2_Custom Design</vt:lpstr>
      <vt:lpstr>3_Custom Design</vt:lpstr>
      <vt:lpstr>2_Theme2</vt:lpstr>
      <vt:lpstr>4_Theme2</vt:lpstr>
      <vt:lpstr>1_Office Theme</vt:lpstr>
      <vt:lpstr>5_Theme2</vt:lpstr>
      <vt:lpstr>3_Office Theme</vt:lpstr>
      <vt:lpstr>4_Office Theme</vt:lpstr>
      <vt:lpstr>2_Office Theme</vt:lpstr>
      <vt:lpstr>5_Office Theme</vt:lpstr>
      <vt:lpstr>4_Custom Design</vt:lpstr>
      <vt:lpstr>think-cell Slide</vt:lpstr>
      <vt:lpstr>PowerPoint Presentation</vt:lpstr>
      <vt:lpstr>Colors</vt:lpstr>
      <vt:lpstr>Typography</vt:lpstr>
      <vt:lpstr>Additional Typography</vt:lpstr>
      <vt:lpstr>Shape and icon</vt:lpstr>
      <vt:lpstr>Layout treatment development</vt:lpstr>
      <vt:lpstr>Layout treatment development</vt:lpstr>
      <vt:lpstr>Customer Docum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halid Hussain</dc:creator>
  <cp:lastModifiedBy>Adel Al Zahrani l Kafaa</cp:lastModifiedBy>
  <cp:revision>113</cp:revision>
  <dcterms:created xsi:type="dcterms:W3CDTF">2020-04-28T06:57:17Z</dcterms:created>
  <dcterms:modified xsi:type="dcterms:W3CDTF">2025-08-20T05:56:52Z</dcterms:modified>
</cp:coreProperties>
</file>